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5.xml" ContentType="application/vnd.openxmlformats-officedocument.presentationml.tags+xml"/>
  <Override PartName="/ppt/notesSlides/notesSlide12.xml" ContentType="application/vnd.openxmlformats-officedocument.presentationml.notesSlide+xml"/>
  <Override PartName="/ppt/tags/tag6.xml" ContentType="application/vnd.openxmlformats-officedocument.presentationml.tags+xml"/>
  <Override PartName="/ppt/notesSlides/notesSlide1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9.xml" ContentType="application/vnd.openxmlformats-officedocument.presentationml.tags+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notesSlides/notesSlide19.xml" ContentType="application/vnd.openxmlformats-officedocument.presentationml.notesSlide+xml"/>
  <Override PartName="/ppt/tags/tag12.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3.xml" ContentType="application/vnd.openxmlformats-officedocument.presentationml.tags+xml"/>
  <Override PartName="/ppt/notesSlides/notesSlide22.xml" ContentType="application/vnd.openxmlformats-officedocument.presentationml.notesSlide+xml"/>
  <Override PartName="/ppt/tags/tag14.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35"/>
  </p:notesMasterIdLst>
  <p:sldIdLst>
    <p:sldId id="256" r:id="rId2"/>
    <p:sldId id="257" r:id="rId3"/>
    <p:sldId id="258" r:id="rId4"/>
    <p:sldId id="259" r:id="rId5"/>
    <p:sldId id="341" r:id="rId6"/>
    <p:sldId id="264" r:id="rId7"/>
    <p:sldId id="260" r:id="rId8"/>
    <p:sldId id="261" r:id="rId9"/>
    <p:sldId id="336" r:id="rId10"/>
    <p:sldId id="338" r:id="rId11"/>
    <p:sldId id="323" r:id="rId12"/>
    <p:sldId id="267" r:id="rId13"/>
    <p:sldId id="373" r:id="rId14"/>
    <p:sldId id="342" r:id="rId15"/>
    <p:sldId id="352" r:id="rId16"/>
    <p:sldId id="263" r:id="rId17"/>
    <p:sldId id="374" r:id="rId18"/>
    <p:sldId id="366" r:id="rId19"/>
    <p:sldId id="365" r:id="rId20"/>
    <p:sldId id="367" r:id="rId21"/>
    <p:sldId id="377" r:id="rId22"/>
    <p:sldId id="375" r:id="rId23"/>
    <p:sldId id="363" r:id="rId24"/>
    <p:sldId id="275" r:id="rId25"/>
    <p:sldId id="370" r:id="rId26"/>
    <p:sldId id="371" r:id="rId27"/>
    <p:sldId id="369" r:id="rId28"/>
    <p:sldId id="276" r:id="rId29"/>
    <p:sldId id="303" r:id="rId30"/>
    <p:sldId id="376" r:id="rId31"/>
    <p:sldId id="279" r:id="rId32"/>
    <p:sldId id="280" r:id="rId33"/>
    <p:sldId id="283" r:id="rId34"/>
  </p:sldIdLst>
  <p:sldSz cx="12192000" cy="6858000"/>
  <p:notesSz cx="7010400" cy="9296400"/>
  <p:embeddedFontLst>
    <p:embeddedFont>
      <p:font typeface="Calibri" panose="020F0502020204030204" pitchFamily="34" charset="0"/>
      <p:regular r:id="rId36"/>
      <p:bold r:id="rId37"/>
      <p:italic r:id="rId38"/>
      <p:boldItalic r:id="rId39"/>
    </p:embeddedFont>
    <p:embeddedFont>
      <p:font typeface="PT Serif" panose="020B0604020202020204" charset="0"/>
      <p:regular r:id="rId40"/>
      <p:bold r:id="rId41"/>
      <p:italic r:id="rId42"/>
      <p:boldItalic r:id="rId43"/>
    </p:embeddedFont>
    <p:embeddedFont>
      <p:font typeface="Source Sans Pro" panose="020B0604020202020204" charset="0"/>
      <p:regular r:id="rId44"/>
      <p:bold r:id="rId45"/>
      <p:italic r:id="rId46"/>
      <p:boldItalic r:id="rId47"/>
    </p:embeddedFont>
    <p:embeddedFont>
      <p:font typeface="Source Sans Pro Semibold" panose="020B0604020202020204" charset="0"/>
      <p:bold r:id="rId48"/>
    </p:embeddedFont>
    <p:embeddedFont>
      <p:font typeface="Source Sans Pro Semibold" panose="020B0604020202020204" charset="0"/>
      <p:bold r:id="rId48"/>
    </p:embeddedFont>
  </p:embeddedFontLst>
  <p:custDataLst>
    <p:tags r:id="rId49"/>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69" roundtripDataSignature="AMtx7mh+ro306qLpZNp4LlCVpFzzejAaEQ=="/>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C6ED3EE-FBDE-2C5F-2E85-5D3903732B61}" name="Tami Corson" initials="TC" userId="S::tamera.corson@serveadvisory.com::17b03132-2f21-4edf-a2df-f25c30f4323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65B9"/>
    <a:srgbClr val="FFF8E5"/>
    <a:srgbClr val="FFFFFF"/>
    <a:srgbClr val="F9F9F9"/>
    <a:srgbClr val="FCF8E8"/>
    <a:srgbClr val="FCF7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933326-DD8E-C291-341C-4F569D9A37AB}" v="6" dt="2022-04-05T17:44:02.009"/>
    <p1510:client id="{31E0F0A3-0D9A-9422-4634-9BF62D8648DB}" v="3" dt="2022-04-05T00:39:09.039"/>
    <p1510:client id="{46B59B1E-7099-BE76-F539-CA3DCFB5CEFC}" v="1060" dt="2022-04-04T20:50:13.596"/>
    <p1510:client id="{7E8C6A50-7BF0-7D53-1FBC-DAEA3326E33F}" v="16" dt="2022-04-05T17:22:46.877"/>
    <p1510:client id="{7EABE0F2-3043-D0FC-1CF5-ABD441C0FF4E}" v="195" dt="2022-04-04T21:05:51.925"/>
    <p1510:client id="{8BFE9592-C905-ED58-3DFA-3E3F28878378}" v="583" dt="2022-04-05T00:43:54.162"/>
    <p1510:client id="{8DAAB175-7234-79FD-431D-8A7341E0D235}" v="9" dt="2022-04-05T17:36:24.950"/>
    <p1510:client id="{B8CFBAE6-F3AC-0CFE-3F62-3BE91E994F7C}" v="552" vWet="553" dt="2022-04-05T16:54:06.134"/>
    <p1510:client id="{BC64E94A-3B8D-DFA7-17C9-EAA2CCD87940}" v="5" dt="2022-04-04T20:29:14.149"/>
    <p1510:client id="{C85B2C23-02EC-1BA5-CEBD-8C6435B2177C}" v="88" dt="2022-04-04T20:39:38.181"/>
    <p1510:client id="{CE7F622B-F0C7-103A-7AA1-24DC39A3B41E}" v="59" dt="2022-04-05T15:41:59.978"/>
    <p1510:client id="{DE91C734-911C-4AEA-859B-D1325E341CA2}" v="2297" dt="2022-04-05T19:18:30.198"/>
  </p1510:revLst>
</p1510:revInfo>
</file>

<file path=ppt/tableStyles.xml><?xml version="1.0" encoding="utf-8"?>
<a:tblStyleLst xmlns:a="http://schemas.openxmlformats.org/drawingml/2006/main" def="{AC820A2F-F511-4E25-9DDC-E36724F9A483}">
  <a:tblStyle styleId="{AC820A2F-F511-4E25-9DDC-E36724F9A483}" styleName="Table_0">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6E7E8"/>
          </a:solidFill>
        </a:fill>
      </a:tcStyle>
    </a:wholeTbl>
    <a:band1H>
      <a:tcTxStyle/>
      <a:tcStyle>
        <a:tcBdr/>
        <a:fill>
          <a:solidFill>
            <a:srgbClr val="CACCCF"/>
          </a:solidFill>
        </a:fill>
      </a:tcStyle>
    </a:band1H>
    <a:band2H>
      <a:tcTxStyle/>
      <a:tcStyle>
        <a:tcBdr/>
      </a:tcStyle>
    </a:band2H>
    <a:band1V>
      <a:tcTxStyle/>
      <a:tcStyle>
        <a:tcBdr/>
        <a:fill>
          <a:solidFill>
            <a:srgbClr val="CACCCF"/>
          </a:solidFill>
        </a:fill>
      </a:tcStyle>
    </a:band1V>
    <a:band2V>
      <a:tcTxStyle/>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1F4BC13E-62C9-4DB2-9D77-78E559E1D0AC}" styleName="Table_1">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4.fntdata"/><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7.fntdata"/><Relationship Id="rId47" Type="http://schemas.openxmlformats.org/officeDocument/2006/relationships/font" Target="fonts/font12.fntdata"/><Relationship Id="rId76" Type="http://schemas.microsoft.com/office/2018/10/relationships/authors" Target="authors.xml"/><Relationship Id="rId7" Type="http://schemas.openxmlformats.org/officeDocument/2006/relationships/slide" Target="slides/slide6.xml"/><Relationship Id="rId71"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74" Type="http://schemas.microsoft.com/office/2016/11/relationships/changesInfo" Target="changesInfos/changesInfo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43" Type="http://schemas.openxmlformats.org/officeDocument/2006/relationships/font" Target="fonts/font8.fntdata"/><Relationship Id="rId48" Type="http://schemas.openxmlformats.org/officeDocument/2006/relationships/font" Target="fonts/font13.fntdata"/><Relationship Id="rId69" Type="http://customschemas.google.com/relationships/presentationmetadata" Target="metadata"/><Relationship Id="rId8" Type="http://schemas.openxmlformats.org/officeDocument/2006/relationships/slide" Target="slides/slide7.xml"/><Relationship Id="rId72"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font" Target="fonts/font3.fntdata"/><Relationship Id="rId46" Type="http://schemas.openxmlformats.org/officeDocument/2006/relationships/font" Target="fonts/font11.fntdata"/><Relationship Id="rId20" Type="http://schemas.openxmlformats.org/officeDocument/2006/relationships/slide" Target="slides/slide19.xml"/><Relationship Id="rId41" Type="http://schemas.openxmlformats.org/officeDocument/2006/relationships/font" Target="fonts/font6.fntdata"/><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1.fntdata"/><Relationship Id="rId49" Type="http://schemas.openxmlformats.org/officeDocument/2006/relationships/tags" Target="tags/tag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font" Target="fonts/font9.fntdata"/><Relationship Id="rId73"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uest User" userId="S::urn:spo:anon#bc72e6c931b442e1b83d9d7baffb28dcb7bee849e2d9a5e2bb7cc25170a1c113::" providerId="AD" clId="Web-{51BBEAE0-DDA1-0435-AA7B-E3B3F4FE8ADD}"/>
    <pc:docChg chg="addSld modSld sldOrd">
      <pc:chgData name="Guest User" userId="S::urn:spo:anon#bc72e6c931b442e1b83d9d7baffb28dcb7bee849e2d9a5e2bb7cc25170a1c113::" providerId="AD" clId="Web-{51BBEAE0-DDA1-0435-AA7B-E3B3F4FE8ADD}" dt="2022-03-21T21:23:38.132" v="62"/>
      <pc:docMkLst>
        <pc:docMk/>
      </pc:docMkLst>
      <pc:sldChg chg="modSp">
        <pc:chgData name="Guest User" userId="S::urn:spo:anon#bc72e6c931b442e1b83d9d7baffb28dcb7bee849e2d9a5e2bb7cc25170a1c113::" providerId="AD" clId="Web-{51BBEAE0-DDA1-0435-AA7B-E3B3F4FE8ADD}" dt="2022-03-21T21:23:08.583" v="61" actId="20577"/>
        <pc:sldMkLst>
          <pc:docMk/>
          <pc:sldMk cId="0" sldId="269"/>
        </pc:sldMkLst>
        <pc:spChg chg="mod">
          <ac:chgData name="Guest User" userId="S::urn:spo:anon#bc72e6c931b442e1b83d9d7baffb28dcb7bee849e2d9a5e2bb7cc25170a1c113::" providerId="AD" clId="Web-{51BBEAE0-DDA1-0435-AA7B-E3B3F4FE8ADD}" dt="2022-03-21T21:23:08.583" v="61" actId="20577"/>
          <ac:spMkLst>
            <pc:docMk/>
            <pc:sldMk cId="0" sldId="269"/>
            <ac:spMk id="16" creationId="{F29BBF2D-5F15-45EC-BE2A-14ABF1E18DB5}"/>
          </ac:spMkLst>
        </pc:spChg>
      </pc:sldChg>
      <pc:sldChg chg="ord">
        <pc:chgData name="Guest User" userId="S::urn:spo:anon#bc72e6c931b442e1b83d9d7baffb28dcb7bee849e2d9a5e2bb7cc25170a1c113::" providerId="AD" clId="Web-{51BBEAE0-DDA1-0435-AA7B-E3B3F4FE8ADD}" dt="2022-03-21T21:23:38.132" v="62"/>
        <pc:sldMkLst>
          <pc:docMk/>
          <pc:sldMk cId="1209993513" sldId="338"/>
        </pc:sldMkLst>
      </pc:sldChg>
      <pc:sldChg chg="modSp">
        <pc:chgData name="Guest User" userId="S::urn:spo:anon#bc72e6c931b442e1b83d9d7baffb28dcb7bee849e2d9a5e2bb7cc25170a1c113::" providerId="AD" clId="Web-{51BBEAE0-DDA1-0435-AA7B-E3B3F4FE8ADD}" dt="2022-03-21T21:16:11.602" v="0" actId="20577"/>
        <pc:sldMkLst>
          <pc:docMk/>
          <pc:sldMk cId="1639760722" sldId="344"/>
        </pc:sldMkLst>
        <pc:spChg chg="mod">
          <ac:chgData name="Guest User" userId="S::urn:spo:anon#bc72e6c931b442e1b83d9d7baffb28dcb7bee849e2d9a5e2bb7cc25170a1c113::" providerId="AD" clId="Web-{51BBEAE0-DDA1-0435-AA7B-E3B3F4FE8ADD}" dt="2022-03-21T21:16:11.602" v="0" actId="20577"/>
          <ac:spMkLst>
            <pc:docMk/>
            <pc:sldMk cId="1639760722" sldId="344"/>
            <ac:spMk id="16" creationId="{F29BBF2D-5F15-45EC-BE2A-14ABF1E18DB5}"/>
          </ac:spMkLst>
        </pc:spChg>
      </pc:sldChg>
      <pc:sldChg chg="modSp add replId">
        <pc:chgData name="Guest User" userId="S::urn:spo:anon#bc72e6c931b442e1b83d9d7baffb28dcb7bee849e2d9a5e2bb7cc25170a1c113::" providerId="AD" clId="Web-{51BBEAE0-DDA1-0435-AA7B-E3B3F4FE8ADD}" dt="2022-03-21T21:16:20.540" v="2" actId="20577"/>
        <pc:sldMkLst>
          <pc:docMk/>
          <pc:sldMk cId="3576351713" sldId="354"/>
        </pc:sldMkLst>
        <pc:spChg chg="mod">
          <ac:chgData name="Guest User" userId="S::urn:spo:anon#bc72e6c931b442e1b83d9d7baffb28dcb7bee849e2d9a5e2bb7cc25170a1c113::" providerId="AD" clId="Web-{51BBEAE0-DDA1-0435-AA7B-E3B3F4FE8ADD}" dt="2022-03-21T21:16:20.540" v="2" actId="20577"/>
          <ac:spMkLst>
            <pc:docMk/>
            <pc:sldMk cId="3576351713" sldId="354"/>
            <ac:spMk id="16" creationId="{F29BBF2D-5F15-45EC-BE2A-14ABF1E18DB5}"/>
          </ac:spMkLst>
        </pc:spChg>
      </pc:sldChg>
      <pc:sldChg chg="modSp add replId">
        <pc:chgData name="Guest User" userId="S::urn:spo:anon#bc72e6c931b442e1b83d9d7baffb28dcb7bee849e2d9a5e2bb7cc25170a1c113::" providerId="AD" clId="Web-{51BBEAE0-DDA1-0435-AA7B-E3B3F4FE8ADD}" dt="2022-03-21T21:16:57.668" v="11" actId="20577"/>
        <pc:sldMkLst>
          <pc:docMk/>
          <pc:sldMk cId="2060296423" sldId="355"/>
        </pc:sldMkLst>
        <pc:spChg chg="mod">
          <ac:chgData name="Guest User" userId="S::urn:spo:anon#bc72e6c931b442e1b83d9d7baffb28dcb7bee849e2d9a5e2bb7cc25170a1c113::" providerId="AD" clId="Web-{51BBEAE0-DDA1-0435-AA7B-E3B3F4FE8ADD}" dt="2022-03-21T21:16:57.668" v="11" actId="20577"/>
          <ac:spMkLst>
            <pc:docMk/>
            <pc:sldMk cId="2060296423" sldId="355"/>
            <ac:spMk id="7" creationId="{1129B7BA-4DD2-4F48-8014-45C471497F3B}"/>
          </ac:spMkLst>
        </pc:spChg>
      </pc:sldChg>
    </pc:docChg>
  </pc:docChgLst>
  <pc:docChgLst>
    <pc:chgData name="Guest User" userId="S::urn:spo:anon#bc72e6c931b442e1b83d9d7baffb28dcb7bee849e2d9a5e2bb7cc25170a1c113::" providerId="AD" clId="Web-{B279289B-7874-F75B-DAC2-F4B3A353269E}"/>
    <pc:docChg chg="addSld delSld modSld">
      <pc:chgData name="Guest User" userId="S::urn:spo:anon#bc72e6c931b442e1b83d9d7baffb28dcb7bee849e2d9a5e2bb7cc25170a1c113::" providerId="AD" clId="Web-{B279289B-7874-F75B-DAC2-F4B3A353269E}" dt="2022-03-21T23:25:38.433" v="840"/>
      <pc:docMkLst>
        <pc:docMk/>
      </pc:docMkLst>
      <pc:sldChg chg="delSp modSp">
        <pc:chgData name="Guest User" userId="S::urn:spo:anon#bc72e6c931b442e1b83d9d7baffb28dcb7bee849e2d9a5e2bb7cc25170a1c113::" providerId="AD" clId="Web-{B279289B-7874-F75B-DAC2-F4B3A353269E}" dt="2022-03-21T22:58:36.931" v="246" actId="1076"/>
        <pc:sldMkLst>
          <pc:docMk/>
          <pc:sldMk cId="0" sldId="264"/>
        </pc:sldMkLst>
        <pc:spChg chg="mod">
          <ac:chgData name="Guest User" userId="S::urn:spo:anon#bc72e6c931b442e1b83d9d7baffb28dcb7bee849e2d9a5e2bb7cc25170a1c113::" providerId="AD" clId="Web-{B279289B-7874-F75B-DAC2-F4B3A353269E}" dt="2022-03-21T22:58:31.399" v="244" actId="1076"/>
          <ac:spMkLst>
            <pc:docMk/>
            <pc:sldMk cId="0" sldId="264"/>
            <ac:spMk id="26" creationId="{63D5B65A-793E-4E79-B52C-834340BABD85}"/>
          </ac:spMkLst>
        </pc:spChg>
        <pc:spChg chg="mod">
          <ac:chgData name="Guest User" userId="S::urn:spo:anon#bc72e6c931b442e1b83d9d7baffb28dcb7bee849e2d9a5e2bb7cc25170a1c113::" providerId="AD" clId="Web-{B279289B-7874-F75B-DAC2-F4B3A353269E}" dt="2022-03-21T22:58:22.712" v="238" actId="1076"/>
          <ac:spMkLst>
            <pc:docMk/>
            <pc:sldMk cId="0" sldId="264"/>
            <ac:spMk id="29" creationId="{CE4534C1-122C-4584-960F-B0117C9A488A}"/>
          </ac:spMkLst>
        </pc:spChg>
        <pc:spChg chg="mod">
          <ac:chgData name="Guest User" userId="S::urn:spo:anon#bc72e6c931b442e1b83d9d7baffb28dcb7bee849e2d9a5e2bb7cc25170a1c113::" providerId="AD" clId="Web-{B279289B-7874-F75B-DAC2-F4B3A353269E}" dt="2022-03-21T22:58:31.415" v="245" actId="1076"/>
          <ac:spMkLst>
            <pc:docMk/>
            <pc:sldMk cId="0" sldId="264"/>
            <ac:spMk id="30" creationId="{100AEE39-1F64-4466-ACEE-5B01ED088536}"/>
          </ac:spMkLst>
        </pc:spChg>
        <pc:spChg chg="mod">
          <ac:chgData name="Guest User" userId="S::urn:spo:anon#bc72e6c931b442e1b83d9d7baffb28dcb7bee849e2d9a5e2bb7cc25170a1c113::" providerId="AD" clId="Web-{B279289B-7874-F75B-DAC2-F4B3A353269E}" dt="2022-03-21T22:55:45.958" v="159" actId="1076"/>
          <ac:spMkLst>
            <pc:docMk/>
            <pc:sldMk cId="0" sldId="264"/>
            <ac:spMk id="73" creationId="{A01F0CD4-3151-470D-98D7-45285C90FD04}"/>
          </ac:spMkLst>
        </pc:spChg>
        <pc:spChg chg="mod">
          <ac:chgData name="Guest User" userId="S::urn:spo:anon#bc72e6c931b442e1b83d9d7baffb28dcb7bee849e2d9a5e2bb7cc25170a1c113::" providerId="AD" clId="Web-{B279289B-7874-F75B-DAC2-F4B3A353269E}" dt="2022-03-21T22:58:36.931" v="246" actId="1076"/>
          <ac:spMkLst>
            <pc:docMk/>
            <pc:sldMk cId="0" sldId="264"/>
            <ac:spMk id="76" creationId="{268B7FA2-6C97-4334-B410-4B8B13FCDB35}"/>
          </ac:spMkLst>
        </pc:spChg>
        <pc:spChg chg="mod">
          <ac:chgData name="Guest User" userId="S::urn:spo:anon#bc72e6c931b442e1b83d9d7baffb28dcb7bee849e2d9a5e2bb7cc25170a1c113::" providerId="AD" clId="Web-{B279289B-7874-F75B-DAC2-F4B3A353269E}" dt="2022-03-21T22:57:48.664" v="217" actId="1076"/>
          <ac:spMkLst>
            <pc:docMk/>
            <pc:sldMk cId="0" sldId="264"/>
            <ac:spMk id="467" creationId="{00000000-0000-0000-0000-000000000000}"/>
          </ac:spMkLst>
        </pc:spChg>
        <pc:spChg chg="mod">
          <ac:chgData name="Guest User" userId="S::urn:spo:anon#bc72e6c931b442e1b83d9d7baffb28dcb7bee849e2d9a5e2bb7cc25170a1c113::" providerId="AD" clId="Web-{B279289B-7874-F75B-DAC2-F4B3A353269E}" dt="2022-03-21T22:58:09.086" v="229" actId="14100"/>
          <ac:spMkLst>
            <pc:docMk/>
            <pc:sldMk cId="0" sldId="264"/>
            <ac:spMk id="472" creationId="{00000000-0000-0000-0000-000000000000}"/>
          </ac:spMkLst>
        </pc:spChg>
        <pc:grpChg chg="mod">
          <ac:chgData name="Guest User" userId="S::urn:spo:anon#bc72e6c931b442e1b83d9d7baffb28dcb7bee849e2d9a5e2bb7cc25170a1c113::" providerId="AD" clId="Web-{B279289B-7874-F75B-DAC2-F4B3A353269E}" dt="2022-03-21T22:58:31.337" v="240" actId="1076"/>
          <ac:grpSpMkLst>
            <pc:docMk/>
            <pc:sldMk cId="0" sldId="264"/>
            <ac:grpSpMk id="71" creationId="{6AE99249-61B0-4010-A9C3-CCC1E2A6D758}"/>
          </ac:grpSpMkLst>
        </pc:grpChg>
        <pc:grpChg chg="mod">
          <ac:chgData name="Guest User" userId="S::urn:spo:anon#bc72e6c931b442e1b83d9d7baffb28dcb7bee849e2d9a5e2bb7cc25170a1c113::" providerId="AD" clId="Web-{B279289B-7874-F75B-DAC2-F4B3A353269E}" dt="2022-03-21T22:58:31.353" v="241" actId="1076"/>
          <ac:grpSpMkLst>
            <pc:docMk/>
            <pc:sldMk cId="0" sldId="264"/>
            <ac:grpSpMk id="75" creationId="{2F4C0EEE-B2A5-4F5F-BA6D-5346F5BDD0C0}"/>
          </ac:grpSpMkLst>
        </pc:grpChg>
        <pc:grpChg chg="mod">
          <ac:chgData name="Guest User" userId="S::urn:spo:anon#bc72e6c931b442e1b83d9d7baffb28dcb7bee849e2d9a5e2bb7cc25170a1c113::" providerId="AD" clId="Web-{B279289B-7874-F75B-DAC2-F4B3A353269E}" dt="2022-03-21T22:58:22.649" v="234" actId="1076"/>
          <ac:grpSpMkLst>
            <pc:docMk/>
            <pc:sldMk cId="0" sldId="264"/>
            <ac:grpSpMk id="78" creationId="{F7502587-5DE6-406D-9E54-BB691FC4A86F}"/>
          </ac:grpSpMkLst>
        </pc:grpChg>
        <pc:graphicFrameChg chg="mod modGraphic">
          <ac:chgData name="Guest User" userId="S::urn:spo:anon#bc72e6c931b442e1b83d9d7baffb28dcb7bee849e2d9a5e2bb7cc25170a1c113::" providerId="AD" clId="Web-{B279289B-7874-F75B-DAC2-F4B3A353269E}" dt="2022-03-21T22:57:53.836" v="218" actId="1076"/>
          <ac:graphicFrameMkLst>
            <pc:docMk/>
            <pc:sldMk cId="0" sldId="264"/>
            <ac:graphicFrameMk id="488" creationId="{00000000-0000-0000-0000-000000000000}"/>
          </ac:graphicFrameMkLst>
        </pc:graphicFrameChg>
        <pc:cxnChg chg="del mod">
          <ac:chgData name="Guest User" userId="S::urn:spo:anon#bc72e6c931b442e1b83d9d7baffb28dcb7bee849e2d9a5e2bb7cc25170a1c113::" providerId="AD" clId="Web-{B279289B-7874-F75B-DAC2-F4B3A353269E}" dt="2022-03-21T22:58:15.149" v="230"/>
          <ac:cxnSpMkLst>
            <pc:docMk/>
            <pc:sldMk cId="0" sldId="264"/>
            <ac:cxnSpMk id="27" creationId="{1C2878D1-A3A9-40A6-80C6-FFD7D7BC0686}"/>
          </ac:cxnSpMkLst>
        </pc:cxnChg>
        <pc:cxnChg chg="mod">
          <ac:chgData name="Guest User" userId="S::urn:spo:anon#bc72e6c931b442e1b83d9d7baffb28dcb7bee849e2d9a5e2bb7cc25170a1c113::" providerId="AD" clId="Web-{B279289B-7874-F75B-DAC2-F4B3A353269E}" dt="2022-03-21T22:58:31.368" v="242" actId="1076"/>
          <ac:cxnSpMkLst>
            <pc:docMk/>
            <pc:sldMk cId="0" sldId="264"/>
            <ac:cxnSpMk id="83" creationId="{8A2F6C26-81D3-43E5-B4BE-4DD32D42E75D}"/>
          </ac:cxnSpMkLst>
        </pc:cxnChg>
        <pc:cxnChg chg="mod">
          <ac:chgData name="Guest User" userId="S::urn:spo:anon#bc72e6c931b442e1b83d9d7baffb28dcb7bee849e2d9a5e2bb7cc25170a1c113::" providerId="AD" clId="Web-{B279289B-7874-F75B-DAC2-F4B3A353269E}" dt="2022-03-21T22:58:31.384" v="243" actId="1076"/>
          <ac:cxnSpMkLst>
            <pc:docMk/>
            <pc:sldMk cId="0" sldId="264"/>
            <ac:cxnSpMk id="84" creationId="{AC6210DF-562A-41C9-9E37-6F2588D8CA5A}"/>
          </ac:cxnSpMkLst>
        </pc:cxnChg>
        <pc:cxnChg chg="del mod">
          <ac:chgData name="Guest User" userId="S::urn:spo:anon#bc72e6c931b442e1b83d9d7baffb28dcb7bee849e2d9a5e2bb7cc25170a1c113::" providerId="AD" clId="Web-{B279289B-7874-F75B-DAC2-F4B3A353269E}" dt="2022-03-21T22:58:17.540" v="231"/>
          <ac:cxnSpMkLst>
            <pc:docMk/>
            <pc:sldMk cId="0" sldId="264"/>
            <ac:cxnSpMk id="85" creationId="{808CDE5B-4E60-4E50-80CC-FFA002DFE02D}"/>
          </ac:cxnSpMkLst>
        </pc:cxnChg>
      </pc:sldChg>
      <pc:sldChg chg="modSp">
        <pc:chgData name="Guest User" userId="S::urn:spo:anon#bc72e6c931b442e1b83d9d7baffb28dcb7bee849e2d9a5e2bb7cc25170a1c113::" providerId="AD" clId="Web-{B279289B-7874-F75B-DAC2-F4B3A353269E}" dt="2022-03-21T23:23:36.884" v="814"/>
        <pc:sldMkLst>
          <pc:docMk/>
          <pc:sldMk cId="0" sldId="280"/>
        </pc:sldMkLst>
        <pc:spChg chg="mod">
          <ac:chgData name="Guest User" userId="S::urn:spo:anon#bc72e6c931b442e1b83d9d7baffb28dcb7bee849e2d9a5e2bb7cc25170a1c113::" providerId="AD" clId="Web-{B279289B-7874-F75B-DAC2-F4B3A353269E}" dt="2022-03-21T23:23:22.509" v="810" actId="14100"/>
          <ac:spMkLst>
            <pc:docMk/>
            <pc:sldMk cId="0" sldId="280"/>
            <ac:spMk id="863" creationId="{00000000-0000-0000-0000-000000000000}"/>
          </ac:spMkLst>
        </pc:spChg>
        <pc:graphicFrameChg chg="modGraphic">
          <ac:chgData name="Guest User" userId="S::urn:spo:anon#bc72e6c931b442e1b83d9d7baffb28dcb7bee849e2d9a5e2bb7cc25170a1c113::" providerId="AD" clId="Web-{B279289B-7874-F75B-DAC2-F4B3A353269E}" dt="2022-03-21T23:23:36.884" v="814"/>
          <ac:graphicFrameMkLst>
            <pc:docMk/>
            <pc:sldMk cId="0" sldId="280"/>
            <ac:graphicFrameMk id="858" creationId="{00000000-0000-0000-0000-000000000000}"/>
          </ac:graphicFrameMkLst>
        </pc:graphicFrameChg>
        <pc:cxnChg chg="mod">
          <ac:chgData name="Guest User" userId="S::urn:spo:anon#bc72e6c931b442e1b83d9d7baffb28dcb7bee849e2d9a5e2bb7cc25170a1c113::" providerId="AD" clId="Web-{B279289B-7874-F75B-DAC2-F4B3A353269E}" dt="2022-03-21T23:23:32.196" v="813" actId="14100"/>
          <ac:cxnSpMkLst>
            <pc:docMk/>
            <pc:sldMk cId="0" sldId="280"/>
            <ac:cxnSpMk id="864" creationId="{00000000-0000-0000-0000-000000000000}"/>
          </ac:cxnSpMkLst>
        </pc:cxnChg>
      </pc:sldChg>
      <pc:sldChg chg="addSp modSp">
        <pc:chgData name="Guest User" userId="S::urn:spo:anon#bc72e6c931b442e1b83d9d7baffb28dcb7bee849e2d9a5e2bb7cc25170a1c113::" providerId="AD" clId="Web-{B279289B-7874-F75B-DAC2-F4B3A353269E}" dt="2022-03-21T23:25:17.699" v="837" actId="1076"/>
        <pc:sldMkLst>
          <pc:docMk/>
          <pc:sldMk cId="3210015788" sldId="303"/>
        </pc:sldMkLst>
        <pc:spChg chg="add mod">
          <ac:chgData name="Guest User" userId="S::urn:spo:anon#bc72e6c931b442e1b83d9d7baffb28dcb7bee849e2d9a5e2bb7cc25170a1c113::" providerId="AD" clId="Web-{B279289B-7874-F75B-DAC2-F4B3A353269E}" dt="2022-03-21T23:10:48.196" v="487"/>
          <ac:spMkLst>
            <pc:docMk/>
            <pc:sldMk cId="3210015788" sldId="303"/>
            <ac:spMk id="6" creationId="{B55CE2C2-56AC-47ED-99D5-58725C3B3F89}"/>
          </ac:spMkLst>
        </pc:spChg>
        <pc:spChg chg="mod">
          <ac:chgData name="Guest User" userId="S::urn:spo:anon#bc72e6c931b442e1b83d9d7baffb28dcb7bee849e2d9a5e2bb7cc25170a1c113::" providerId="AD" clId="Web-{B279289B-7874-F75B-DAC2-F4B3A353269E}" dt="2022-03-21T23:16:19.281" v="628" actId="14100"/>
          <ac:spMkLst>
            <pc:docMk/>
            <pc:sldMk cId="3210015788" sldId="303"/>
            <ac:spMk id="7" creationId="{BE7F7455-B913-4524-B9A1-CFE51EA4FDC0}"/>
          </ac:spMkLst>
        </pc:spChg>
        <pc:spChg chg="add mod">
          <ac:chgData name="Guest User" userId="S::urn:spo:anon#bc72e6c931b442e1b83d9d7baffb28dcb7bee849e2d9a5e2bb7cc25170a1c113::" providerId="AD" clId="Web-{B279289B-7874-F75B-DAC2-F4B3A353269E}" dt="2022-03-21T23:11:04.556" v="495" actId="20577"/>
          <ac:spMkLst>
            <pc:docMk/>
            <pc:sldMk cId="3210015788" sldId="303"/>
            <ac:spMk id="8" creationId="{A19485DD-AF7A-4DC6-9406-74037D209156}"/>
          </ac:spMkLst>
        </pc:spChg>
        <pc:spChg chg="mod">
          <ac:chgData name="Guest User" userId="S::urn:spo:anon#bc72e6c931b442e1b83d9d7baffb28dcb7bee849e2d9a5e2bb7cc25170a1c113::" providerId="AD" clId="Web-{B279289B-7874-F75B-DAC2-F4B3A353269E}" dt="2022-03-21T23:16:14.844" v="627" actId="1076"/>
          <ac:spMkLst>
            <pc:docMk/>
            <pc:sldMk cId="3210015788" sldId="303"/>
            <ac:spMk id="15" creationId="{7CB18294-8481-4276-8B40-97E3110A50BA}"/>
          </ac:spMkLst>
        </pc:spChg>
        <pc:spChg chg="mod">
          <ac:chgData name="Guest User" userId="S::urn:spo:anon#bc72e6c931b442e1b83d9d7baffb28dcb7bee849e2d9a5e2bb7cc25170a1c113::" providerId="AD" clId="Web-{B279289B-7874-F75B-DAC2-F4B3A353269E}" dt="2022-03-21T23:24:59.933" v="830" actId="1076"/>
          <ac:spMkLst>
            <pc:docMk/>
            <pc:sldMk cId="3210015788" sldId="303"/>
            <ac:spMk id="29" creationId="{9EDE1D44-C442-44A3-A246-C666D0FC9506}"/>
          </ac:spMkLst>
        </pc:spChg>
        <pc:spChg chg="mod">
          <ac:chgData name="Guest User" userId="S::urn:spo:anon#bc72e6c931b442e1b83d9d7baffb28dcb7bee849e2d9a5e2bb7cc25170a1c113::" providerId="AD" clId="Web-{B279289B-7874-F75B-DAC2-F4B3A353269E}" dt="2022-03-21T23:25:05.995" v="834" actId="1076"/>
          <ac:spMkLst>
            <pc:docMk/>
            <pc:sldMk cId="3210015788" sldId="303"/>
            <ac:spMk id="30" creationId="{F5E6A857-939B-428F-8E38-79E7432F9239}"/>
          </ac:spMkLst>
        </pc:spChg>
        <pc:spChg chg="mod">
          <ac:chgData name="Guest User" userId="S::urn:spo:anon#bc72e6c931b442e1b83d9d7baffb28dcb7bee849e2d9a5e2bb7cc25170a1c113::" providerId="AD" clId="Web-{B279289B-7874-F75B-DAC2-F4B3A353269E}" dt="2022-03-21T23:24:45.026" v="818" actId="1076"/>
          <ac:spMkLst>
            <pc:docMk/>
            <pc:sldMk cId="3210015788" sldId="303"/>
            <ac:spMk id="482" creationId="{00000000-0000-0000-0000-000000000000}"/>
          </ac:spMkLst>
        </pc:spChg>
        <pc:grpChg chg="mod">
          <ac:chgData name="Guest User" userId="S::urn:spo:anon#bc72e6c931b442e1b83d9d7baffb28dcb7bee849e2d9a5e2bb7cc25170a1c113::" providerId="AD" clId="Web-{B279289B-7874-F75B-DAC2-F4B3A353269E}" dt="2022-03-21T23:24:59.886" v="827" actId="1076"/>
          <ac:grpSpMkLst>
            <pc:docMk/>
            <pc:sldMk cId="3210015788" sldId="303"/>
            <ac:grpSpMk id="2" creationId="{5446D027-4741-472B-92E7-05F1C5E0D155}"/>
          </ac:grpSpMkLst>
        </pc:grpChg>
        <pc:grpChg chg="mod">
          <ac:chgData name="Guest User" userId="S::urn:spo:anon#bc72e6c931b442e1b83d9d7baffb28dcb7bee849e2d9a5e2bb7cc25170a1c113::" providerId="AD" clId="Web-{B279289B-7874-F75B-DAC2-F4B3A353269E}" dt="2022-03-21T23:25:13.120" v="836" actId="1076"/>
          <ac:grpSpMkLst>
            <pc:docMk/>
            <pc:sldMk cId="3210015788" sldId="303"/>
            <ac:grpSpMk id="4" creationId="{AB31B214-37A4-4CE0-A956-87A5196939D4}"/>
          </ac:grpSpMkLst>
        </pc:grpChg>
        <pc:grpChg chg="mod">
          <ac:chgData name="Guest User" userId="S::urn:spo:anon#bc72e6c931b442e1b83d9d7baffb28dcb7bee849e2d9a5e2bb7cc25170a1c113::" providerId="AD" clId="Web-{B279289B-7874-F75B-DAC2-F4B3A353269E}" dt="2022-03-21T23:25:05.964" v="832" actId="1076"/>
          <ac:grpSpMkLst>
            <pc:docMk/>
            <pc:sldMk cId="3210015788" sldId="303"/>
            <ac:grpSpMk id="5" creationId="{B4748D22-10CC-4855-AD20-21CA97C1DB4C}"/>
          </ac:grpSpMkLst>
        </pc:grpChg>
        <pc:graphicFrameChg chg="mod modGraphic">
          <ac:chgData name="Guest User" userId="S::urn:spo:anon#bc72e6c931b442e1b83d9d7baffb28dcb7bee849e2d9a5e2bb7cc25170a1c113::" providerId="AD" clId="Web-{B279289B-7874-F75B-DAC2-F4B3A353269E}" dt="2022-03-21T23:16:14.828" v="626" actId="1076"/>
          <ac:graphicFrameMkLst>
            <pc:docMk/>
            <pc:sldMk cId="3210015788" sldId="303"/>
            <ac:graphicFrameMk id="488" creationId="{00000000-0000-0000-0000-000000000000}"/>
          </ac:graphicFrameMkLst>
        </pc:graphicFrameChg>
        <pc:cxnChg chg="mod">
          <ac:chgData name="Guest User" userId="S::urn:spo:anon#bc72e6c931b442e1b83d9d7baffb28dcb7bee849e2d9a5e2bb7cc25170a1c113::" providerId="AD" clId="Web-{B279289B-7874-F75B-DAC2-F4B3A353269E}" dt="2022-03-21T23:25:17.699" v="837" actId="1076"/>
          <ac:cxnSpMkLst>
            <pc:docMk/>
            <pc:sldMk cId="3210015788" sldId="303"/>
            <ac:cxnSpMk id="36" creationId="{EAECDCBB-3819-4FCD-A496-F9491BDFD89C}"/>
          </ac:cxnSpMkLst>
        </pc:cxnChg>
        <pc:cxnChg chg="mod">
          <ac:chgData name="Guest User" userId="S::urn:spo:anon#bc72e6c931b442e1b83d9d7baffb28dcb7bee849e2d9a5e2bb7cc25170a1c113::" providerId="AD" clId="Web-{B279289B-7874-F75B-DAC2-F4B3A353269E}" dt="2022-03-21T23:24:45.073" v="821" actId="1076"/>
          <ac:cxnSpMkLst>
            <pc:docMk/>
            <pc:sldMk cId="3210015788" sldId="303"/>
            <ac:cxnSpMk id="485" creationId="{00000000-0000-0000-0000-000000000000}"/>
          </ac:cxnSpMkLst>
        </pc:cxnChg>
        <pc:cxnChg chg="mod">
          <ac:chgData name="Guest User" userId="S::urn:spo:anon#bc72e6c931b442e1b83d9d7baffb28dcb7bee849e2d9a5e2bb7cc25170a1c113::" providerId="AD" clId="Web-{B279289B-7874-F75B-DAC2-F4B3A353269E}" dt="2022-03-21T23:24:59.901" v="828" actId="1076"/>
          <ac:cxnSpMkLst>
            <pc:docMk/>
            <pc:sldMk cId="3210015788" sldId="303"/>
            <ac:cxnSpMk id="486" creationId="{00000000-0000-0000-0000-000000000000}"/>
          </ac:cxnSpMkLst>
        </pc:cxnChg>
        <pc:cxnChg chg="mod">
          <ac:chgData name="Guest User" userId="S::urn:spo:anon#bc72e6c931b442e1b83d9d7baffb28dcb7bee849e2d9a5e2bb7cc25170a1c113::" providerId="AD" clId="Web-{B279289B-7874-F75B-DAC2-F4B3A353269E}" dt="2022-03-21T23:25:05.980" v="833" actId="1076"/>
          <ac:cxnSpMkLst>
            <pc:docMk/>
            <pc:sldMk cId="3210015788" sldId="303"/>
            <ac:cxnSpMk id="487" creationId="{00000000-0000-0000-0000-000000000000}"/>
          </ac:cxnSpMkLst>
        </pc:cxnChg>
      </pc:sldChg>
      <pc:sldChg chg="modSp">
        <pc:chgData name="Guest User" userId="S::urn:spo:anon#bc72e6c931b442e1b83d9d7baffb28dcb7bee849e2d9a5e2bb7cc25170a1c113::" providerId="AD" clId="Web-{B279289B-7874-F75B-DAC2-F4B3A353269E}" dt="2022-03-21T23:08:41.975" v="428"/>
        <pc:sldMkLst>
          <pc:docMk/>
          <pc:sldMk cId="1295029711" sldId="333"/>
        </pc:sldMkLst>
        <pc:graphicFrameChg chg="modGraphic">
          <ac:chgData name="Guest User" userId="S::urn:spo:anon#bc72e6c931b442e1b83d9d7baffb28dcb7bee849e2d9a5e2bb7cc25170a1c113::" providerId="AD" clId="Web-{B279289B-7874-F75B-DAC2-F4B3A353269E}" dt="2022-03-21T23:08:41.975" v="428"/>
          <ac:graphicFrameMkLst>
            <pc:docMk/>
            <pc:sldMk cId="1295029711" sldId="333"/>
            <ac:graphicFrameMk id="694" creationId="{00000000-0000-0000-0000-000000000000}"/>
          </ac:graphicFrameMkLst>
        </pc:graphicFrameChg>
      </pc:sldChg>
      <pc:sldChg chg="addSp delSp modSp">
        <pc:chgData name="Guest User" userId="S::urn:spo:anon#bc72e6c931b442e1b83d9d7baffb28dcb7bee849e2d9a5e2bb7cc25170a1c113::" providerId="AD" clId="Web-{B279289B-7874-F75B-DAC2-F4B3A353269E}" dt="2022-03-21T23:25:33.433" v="838"/>
        <pc:sldMkLst>
          <pc:docMk/>
          <pc:sldMk cId="3720673345" sldId="336"/>
        </pc:sldMkLst>
        <pc:spChg chg="del">
          <ac:chgData name="Guest User" userId="S::urn:spo:anon#bc72e6c931b442e1b83d9d7baffb28dcb7bee849e2d9a5e2bb7cc25170a1c113::" providerId="AD" clId="Web-{B279289B-7874-F75B-DAC2-F4B3A353269E}" dt="2022-03-21T21:52:03.178" v="14"/>
          <ac:spMkLst>
            <pc:docMk/>
            <pc:sldMk cId="3720673345" sldId="336"/>
            <ac:spMk id="7" creationId="{1129B7BA-4DD2-4F48-8014-45C471497F3B}"/>
          </ac:spMkLst>
        </pc:spChg>
        <pc:spChg chg="del">
          <ac:chgData name="Guest User" userId="S::urn:spo:anon#bc72e6c931b442e1b83d9d7baffb28dcb7bee849e2d9a5e2bb7cc25170a1c113::" providerId="AD" clId="Web-{B279289B-7874-F75B-DAC2-F4B3A353269E}" dt="2022-03-21T23:25:33.433" v="838"/>
          <ac:spMkLst>
            <pc:docMk/>
            <pc:sldMk cId="3720673345" sldId="336"/>
            <ac:spMk id="19" creationId="{927189BB-D2EA-495F-988C-3D63C6731950}"/>
          </ac:spMkLst>
        </pc:spChg>
        <pc:picChg chg="del">
          <ac:chgData name="Guest User" userId="S::urn:spo:anon#bc72e6c931b442e1b83d9d7baffb28dcb7bee849e2d9a5e2bb7cc25170a1c113::" providerId="AD" clId="Web-{B279289B-7874-F75B-DAC2-F4B3A353269E}" dt="2022-03-21T21:50:51.145" v="0"/>
          <ac:picMkLst>
            <pc:docMk/>
            <pc:sldMk cId="3720673345" sldId="336"/>
            <ac:picMk id="2" creationId="{076398DA-6924-4535-9B44-BDDF42024E00}"/>
          </ac:picMkLst>
        </pc:picChg>
        <pc:picChg chg="add del mod">
          <ac:chgData name="Guest User" userId="S::urn:spo:anon#bc72e6c931b442e1b83d9d7baffb28dcb7bee849e2d9a5e2bb7cc25170a1c113::" providerId="AD" clId="Web-{B279289B-7874-F75B-DAC2-F4B3A353269E}" dt="2022-03-21T21:51:38.443" v="6"/>
          <ac:picMkLst>
            <pc:docMk/>
            <pc:sldMk cId="3720673345" sldId="336"/>
            <ac:picMk id="3" creationId="{89FF1379-21E8-47E9-97C6-A83BFCE1B580}"/>
          </ac:picMkLst>
        </pc:picChg>
        <pc:picChg chg="add mod">
          <ac:chgData name="Guest User" userId="S::urn:spo:anon#bc72e6c931b442e1b83d9d7baffb28dcb7bee849e2d9a5e2bb7cc25170a1c113::" providerId="AD" clId="Web-{B279289B-7874-F75B-DAC2-F4B3A353269E}" dt="2022-03-21T21:52:01.522" v="13" actId="1076"/>
          <ac:picMkLst>
            <pc:docMk/>
            <pc:sldMk cId="3720673345" sldId="336"/>
            <ac:picMk id="4" creationId="{8D3C64D2-1D2C-40BE-9360-7D7368CC172E}"/>
          </ac:picMkLst>
        </pc:picChg>
      </pc:sldChg>
      <pc:sldChg chg="addSp delSp">
        <pc:chgData name="Guest User" userId="S::urn:spo:anon#bc72e6c931b442e1b83d9d7baffb28dcb7bee849e2d9a5e2bb7cc25170a1c113::" providerId="AD" clId="Web-{B279289B-7874-F75B-DAC2-F4B3A353269E}" dt="2022-03-21T23:11:15.650" v="498"/>
        <pc:sldMkLst>
          <pc:docMk/>
          <pc:sldMk cId="2486721525" sldId="341"/>
        </pc:sldMkLst>
        <pc:spChg chg="add">
          <ac:chgData name="Guest User" userId="S::urn:spo:anon#bc72e6c931b442e1b83d9d7baffb28dcb7bee849e2d9a5e2bb7cc25170a1c113::" providerId="AD" clId="Web-{B279289B-7874-F75B-DAC2-F4B3A353269E}" dt="2022-03-21T23:11:10.556" v="496"/>
          <ac:spMkLst>
            <pc:docMk/>
            <pc:sldMk cId="2486721525" sldId="341"/>
            <ac:spMk id="94" creationId="{E31314A6-B11D-4476-9803-2FB49A1BD625}"/>
          </ac:spMkLst>
        </pc:spChg>
        <pc:spChg chg="add del">
          <ac:chgData name="Guest User" userId="S::urn:spo:anon#bc72e6c931b442e1b83d9d7baffb28dcb7bee849e2d9a5e2bb7cc25170a1c113::" providerId="AD" clId="Web-{B279289B-7874-F75B-DAC2-F4B3A353269E}" dt="2022-03-21T23:11:15.650" v="498"/>
          <ac:spMkLst>
            <pc:docMk/>
            <pc:sldMk cId="2486721525" sldId="341"/>
            <ac:spMk id="95" creationId="{E31314A6-B11D-4476-9803-2FB49A1BD625}"/>
          </ac:spMkLst>
        </pc:spChg>
      </pc:sldChg>
      <pc:sldChg chg="addSp delSp modSp">
        <pc:chgData name="Guest User" userId="S::urn:spo:anon#bc72e6c931b442e1b83d9d7baffb28dcb7bee849e2d9a5e2bb7cc25170a1c113::" providerId="AD" clId="Web-{B279289B-7874-F75B-DAC2-F4B3A353269E}" dt="2022-03-21T23:23:08.024" v="809"/>
        <pc:sldMkLst>
          <pc:docMk/>
          <pc:sldMk cId="4114424017" sldId="342"/>
        </pc:sldMkLst>
        <pc:spChg chg="del">
          <ac:chgData name="Guest User" userId="S::urn:spo:anon#bc72e6c931b442e1b83d9d7baffb28dcb7bee849e2d9a5e2bb7cc25170a1c113::" providerId="AD" clId="Web-{B279289B-7874-F75B-DAC2-F4B3A353269E}" dt="2022-03-21T23:11:21.650" v="499"/>
          <ac:spMkLst>
            <pc:docMk/>
            <pc:sldMk cId="4114424017" sldId="342"/>
            <ac:spMk id="3" creationId="{C21DDB4A-434A-49A0-BBD9-20F3079D2A8B}"/>
          </ac:spMkLst>
        </pc:spChg>
        <pc:spChg chg="add mod">
          <ac:chgData name="Guest User" userId="S::urn:spo:anon#bc72e6c931b442e1b83d9d7baffb28dcb7bee849e2d9a5e2bb7cc25170a1c113::" providerId="AD" clId="Web-{B279289B-7874-F75B-DAC2-F4B3A353269E}" dt="2022-03-21T23:11:23.884" v="500"/>
          <ac:spMkLst>
            <pc:docMk/>
            <pc:sldMk cId="4114424017" sldId="342"/>
            <ac:spMk id="4" creationId="{F173D14F-C60A-49C7-A3F4-A50D97410ED9}"/>
          </ac:spMkLst>
        </pc:spChg>
        <pc:spChg chg="add">
          <ac:chgData name="Guest User" userId="S::urn:spo:anon#bc72e6c931b442e1b83d9d7baffb28dcb7bee849e2d9a5e2bb7cc25170a1c113::" providerId="AD" clId="Web-{B279289B-7874-F75B-DAC2-F4B3A353269E}" dt="2022-03-21T23:11:23.916" v="501"/>
          <ac:spMkLst>
            <pc:docMk/>
            <pc:sldMk cId="4114424017" sldId="342"/>
            <ac:spMk id="6" creationId="{27A3C5F9-CE7F-4416-9B0D-9A54A7CAF05D}"/>
          </ac:spMkLst>
        </pc:spChg>
        <pc:spChg chg="add">
          <ac:chgData name="Guest User" userId="S::urn:spo:anon#bc72e6c931b442e1b83d9d7baffb28dcb7bee849e2d9a5e2bb7cc25170a1c113::" providerId="AD" clId="Web-{B279289B-7874-F75B-DAC2-F4B3A353269E}" dt="2022-03-21T23:11:27.588" v="502"/>
          <ac:spMkLst>
            <pc:docMk/>
            <pc:sldMk cId="4114424017" sldId="342"/>
            <ac:spMk id="7" creationId="{3A459B18-D705-4DD6-8A98-83D381B62CE4}"/>
          </ac:spMkLst>
        </pc:spChg>
        <pc:spChg chg="mod">
          <ac:chgData name="Guest User" userId="S::urn:spo:anon#bc72e6c931b442e1b83d9d7baffb28dcb7bee849e2d9a5e2bb7cc25170a1c113::" providerId="AD" clId="Web-{B279289B-7874-F75B-DAC2-F4B3A353269E}" dt="2022-03-21T23:17:54.439" v="642" actId="1076"/>
          <ac:spMkLst>
            <pc:docMk/>
            <pc:sldMk cId="4114424017" sldId="342"/>
            <ac:spMk id="28" creationId="{6C1475B9-0D65-4E9C-A1BE-5280DA459F1D}"/>
          </ac:spMkLst>
        </pc:spChg>
        <pc:spChg chg="mod">
          <ac:chgData name="Guest User" userId="S::urn:spo:anon#bc72e6c931b442e1b83d9d7baffb28dcb7bee849e2d9a5e2bb7cc25170a1c113::" providerId="AD" clId="Web-{B279289B-7874-F75B-DAC2-F4B3A353269E}" dt="2022-03-21T23:17:56.674" v="643" actId="1076"/>
          <ac:spMkLst>
            <pc:docMk/>
            <pc:sldMk cId="4114424017" sldId="342"/>
            <ac:spMk id="29" creationId="{76F8C6E7-F209-41F4-BEFF-E33A2664F7DA}"/>
          </ac:spMkLst>
        </pc:spChg>
        <pc:graphicFrameChg chg="mod modGraphic">
          <ac:chgData name="Guest User" userId="S::urn:spo:anon#bc72e6c931b442e1b83d9d7baffb28dcb7bee849e2d9a5e2bb7cc25170a1c113::" providerId="AD" clId="Web-{B279289B-7874-F75B-DAC2-F4B3A353269E}" dt="2022-03-21T23:23:08.024" v="809"/>
          <ac:graphicFrameMkLst>
            <pc:docMk/>
            <pc:sldMk cId="4114424017" sldId="342"/>
            <ac:graphicFrameMk id="23" creationId="{F4A84191-3BFB-48AA-A343-19DE4EA3891C}"/>
          </ac:graphicFrameMkLst>
        </pc:graphicFrameChg>
        <pc:cxnChg chg="del mod">
          <ac:chgData name="Guest User" userId="S::urn:spo:anon#bc72e6c931b442e1b83d9d7baffb28dcb7bee849e2d9a5e2bb7cc25170a1c113::" providerId="AD" clId="Web-{B279289B-7874-F75B-DAC2-F4B3A353269E}" dt="2022-03-21T23:13:08.558" v="552"/>
          <ac:cxnSpMkLst>
            <pc:docMk/>
            <pc:sldMk cId="4114424017" sldId="342"/>
            <ac:cxnSpMk id="25" creationId="{85355DD6-5C90-4237-B742-14BBDBC9C561}"/>
          </ac:cxnSpMkLst>
        </pc:cxnChg>
      </pc:sldChg>
      <pc:sldChg chg="addSp delSp modSp">
        <pc:chgData name="Guest User" userId="S::urn:spo:anon#bc72e6c931b442e1b83d9d7baffb28dcb7bee849e2d9a5e2bb7cc25170a1c113::" providerId="AD" clId="Web-{B279289B-7874-F75B-DAC2-F4B3A353269E}" dt="2022-03-21T23:00:54.215" v="287" actId="14100"/>
        <pc:sldMkLst>
          <pc:docMk/>
          <pc:sldMk cId="1358823486" sldId="345"/>
        </pc:sldMkLst>
        <pc:spChg chg="mod">
          <ac:chgData name="Guest User" userId="S::urn:spo:anon#bc72e6c931b442e1b83d9d7baffb28dcb7bee849e2d9a5e2bb7cc25170a1c113::" providerId="AD" clId="Web-{B279289B-7874-F75B-DAC2-F4B3A353269E}" dt="2022-03-21T23:00:39.324" v="282" actId="1076"/>
          <ac:spMkLst>
            <pc:docMk/>
            <pc:sldMk cId="1358823486" sldId="345"/>
            <ac:spMk id="15" creationId="{CF9C4944-CC24-46A4-BC7C-9F086DBB5AAA}"/>
          </ac:spMkLst>
        </pc:spChg>
        <pc:spChg chg="mod">
          <ac:chgData name="Guest User" userId="S::urn:spo:anon#bc72e6c931b442e1b83d9d7baffb28dcb7bee849e2d9a5e2bb7cc25170a1c113::" providerId="AD" clId="Web-{B279289B-7874-F75B-DAC2-F4B3A353269E}" dt="2022-03-21T22:59:57.214" v="258" actId="1076"/>
          <ac:spMkLst>
            <pc:docMk/>
            <pc:sldMk cId="1358823486" sldId="345"/>
            <ac:spMk id="21" creationId="{D1F6E8BF-1253-4B1C-A8DF-1D5ECAB002A0}"/>
          </ac:spMkLst>
        </pc:spChg>
        <pc:picChg chg="del mod">
          <ac:chgData name="Guest User" userId="S::urn:spo:anon#bc72e6c931b442e1b83d9d7baffb28dcb7bee849e2d9a5e2bb7cc25170a1c113::" providerId="AD" clId="Web-{B279289B-7874-F75B-DAC2-F4B3A353269E}" dt="2022-03-21T23:00:18.105" v="272"/>
          <ac:picMkLst>
            <pc:docMk/>
            <pc:sldMk cId="1358823486" sldId="345"/>
            <ac:picMk id="4" creationId="{C4A4A6F7-64C4-4BD5-8552-F0C17F3D6DF0}"/>
          </ac:picMkLst>
        </pc:picChg>
        <pc:picChg chg="mod">
          <ac:chgData name="Guest User" userId="S::urn:spo:anon#bc72e6c931b442e1b83d9d7baffb28dcb7bee849e2d9a5e2bb7cc25170a1c113::" providerId="AD" clId="Web-{B279289B-7874-F75B-DAC2-F4B3A353269E}" dt="2022-03-21T23:00:33.074" v="278" actId="1076"/>
          <ac:picMkLst>
            <pc:docMk/>
            <pc:sldMk cId="1358823486" sldId="345"/>
            <ac:picMk id="5" creationId="{B893E222-B27E-4027-A138-AC20022E16B0}"/>
          </ac:picMkLst>
        </pc:picChg>
        <pc:picChg chg="mod">
          <ac:chgData name="Guest User" userId="S::urn:spo:anon#bc72e6c931b442e1b83d9d7baffb28dcb7bee849e2d9a5e2bb7cc25170a1c113::" providerId="AD" clId="Web-{B279289B-7874-F75B-DAC2-F4B3A353269E}" dt="2022-03-21T23:00:45.371" v="284" actId="1076"/>
          <ac:picMkLst>
            <pc:docMk/>
            <pc:sldMk cId="1358823486" sldId="345"/>
            <ac:picMk id="7" creationId="{890888AC-875C-4B8F-8714-75629507A956}"/>
          </ac:picMkLst>
        </pc:picChg>
        <pc:picChg chg="mod">
          <ac:chgData name="Guest User" userId="S::urn:spo:anon#bc72e6c931b442e1b83d9d7baffb28dcb7bee849e2d9a5e2bb7cc25170a1c113::" providerId="AD" clId="Web-{B279289B-7874-F75B-DAC2-F4B3A353269E}" dt="2022-03-21T23:00:24.761" v="275" actId="1076"/>
          <ac:picMkLst>
            <pc:docMk/>
            <pc:sldMk cId="1358823486" sldId="345"/>
            <ac:picMk id="8" creationId="{D1D0401C-7A77-48E3-BF13-2DF4CBF93CA6}"/>
          </ac:picMkLst>
        </pc:picChg>
        <pc:picChg chg="mod">
          <ac:chgData name="Guest User" userId="S::urn:spo:anon#bc72e6c931b442e1b83d9d7baffb28dcb7bee849e2d9a5e2bb7cc25170a1c113::" providerId="AD" clId="Web-{B279289B-7874-F75B-DAC2-F4B3A353269E}" dt="2022-03-21T23:00:37.168" v="280" actId="1076"/>
          <ac:picMkLst>
            <pc:docMk/>
            <pc:sldMk cId="1358823486" sldId="345"/>
            <ac:picMk id="9" creationId="{0000EF70-A762-4F91-9169-3F46E208EC9F}"/>
          </ac:picMkLst>
        </pc:picChg>
        <pc:picChg chg="mod">
          <ac:chgData name="Guest User" userId="S::urn:spo:anon#bc72e6c931b442e1b83d9d7baffb28dcb7bee849e2d9a5e2bb7cc25170a1c113::" providerId="AD" clId="Web-{B279289B-7874-F75B-DAC2-F4B3A353269E}" dt="2022-03-21T23:00:49.465" v="285" actId="1076"/>
          <ac:picMkLst>
            <pc:docMk/>
            <pc:sldMk cId="1358823486" sldId="345"/>
            <ac:picMk id="10" creationId="{0753C1B4-9D5A-4CB0-8EA5-F40FF6D8788B}"/>
          </ac:picMkLst>
        </pc:picChg>
        <pc:picChg chg="mod">
          <ac:chgData name="Guest User" userId="S::urn:spo:anon#bc72e6c931b442e1b83d9d7baffb28dcb7bee849e2d9a5e2bb7cc25170a1c113::" providerId="AD" clId="Web-{B279289B-7874-F75B-DAC2-F4B3A353269E}" dt="2022-03-21T23:00:33.058" v="277" actId="1076"/>
          <ac:picMkLst>
            <pc:docMk/>
            <pc:sldMk cId="1358823486" sldId="345"/>
            <ac:picMk id="11" creationId="{4E68D6DC-540E-4ECE-9F48-DDC744D9097C}"/>
          </ac:picMkLst>
        </pc:picChg>
        <pc:picChg chg="mod">
          <ac:chgData name="Guest User" userId="S::urn:spo:anon#bc72e6c931b442e1b83d9d7baffb28dcb7bee849e2d9a5e2bb7cc25170a1c113::" providerId="AD" clId="Web-{B279289B-7874-F75B-DAC2-F4B3A353269E}" dt="2022-03-21T23:00:54.215" v="287" actId="14100"/>
          <ac:picMkLst>
            <pc:docMk/>
            <pc:sldMk cId="1358823486" sldId="345"/>
            <ac:picMk id="12" creationId="{321E5063-5D85-4B97-9C6D-059BDAFA7942}"/>
          </ac:picMkLst>
        </pc:picChg>
        <pc:picChg chg="mod">
          <ac:chgData name="Guest User" userId="S::urn:spo:anon#bc72e6c931b442e1b83d9d7baffb28dcb7bee849e2d9a5e2bb7cc25170a1c113::" providerId="AD" clId="Web-{B279289B-7874-F75B-DAC2-F4B3A353269E}" dt="2022-03-21T23:00:41.730" v="283" actId="1076"/>
          <ac:picMkLst>
            <pc:docMk/>
            <pc:sldMk cId="1358823486" sldId="345"/>
            <ac:picMk id="13" creationId="{88371E29-1789-480F-9F0D-AD8B2C61382A}"/>
          </ac:picMkLst>
        </pc:picChg>
        <pc:picChg chg="mod">
          <ac:chgData name="Guest User" userId="S::urn:spo:anon#bc72e6c931b442e1b83d9d7baffb28dcb7bee849e2d9a5e2bb7cc25170a1c113::" providerId="AD" clId="Web-{B279289B-7874-F75B-DAC2-F4B3A353269E}" dt="2022-03-21T23:00:33.090" v="279" actId="1076"/>
          <ac:picMkLst>
            <pc:docMk/>
            <pc:sldMk cId="1358823486" sldId="345"/>
            <ac:picMk id="14" creationId="{E8841742-24B8-4165-9B0E-38F94EDBFE28}"/>
          </ac:picMkLst>
        </pc:picChg>
        <pc:picChg chg="add mod">
          <ac:chgData name="Guest User" userId="S::urn:spo:anon#bc72e6c931b442e1b83d9d7baffb28dcb7bee849e2d9a5e2bb7cc25170a1c113::" providerId="AD" clId="Web-{B279289B-7874-F75B-DAC2-F4B3A353269E}" dt="2022-03-21T23:00:22.589" v="274" actId="1076"/>
          <ac:picMkLst>
            <pc:docMk/>
            <pc:sldMk cId="1358823486" sldId="345"/>
            <ac:picMk id="20" creationId="{958E788D-937A-4C0E-9BB6-B877145945DD}"/>
          </ac:picMkLst>
        </pc:picChg>
      </pc:sldChg>
      <pc:sldChg chg="addSp delSp modSp">
        <pc:chgData name="Guest User" userId="S::urn:spo:anon#bc72e6c931b442e1b83d9d7baffb28dcb7bee849e2d9a5e2bb7cc25170a1c113::" providerId="AD" clId="Web-{B279289B-7874-F75B-DAC2-F4B3A353269E}" dt="2022-03-21T23:24:18.697" v="817"/>
        <pc:sldMkLst>
          <pc:docMk/>
          <pc:sldMk cId="754587697" sldId="352"/>
        </pc:sldMkLst>
        <pc:spChg chg="mod">
          <ac:chgData name="Guest User" userId="S::urn:spo:anon#bc72e6c931b442e1b83d9d7baffb28dcb7bee849e2d9a5e2bb7cc25170a1c113::" providerId="AD" clId="Web-{B279289B-7874-F75B-DAC2-F4B3A353269E}" dt="2022-03-21T23:21:23.959" v="738" actId="14100"/>
          <ac:spMkLst>
            <pc:docMk/>
            <pc:sldMk cId="754587697" sldId="352"/>
            <ac:spMk id="2" creationId="{4D5921D8-9182-46DA-BF73-3160B3589AF0}"/>
          </ac:spMkLst>
        </pc:spChg>
        <pc:spChg chg="add">
          <ac:chgData name="Guest User" userId="S::urn:spo:anon#bc72e6c931b442e1b83d9d7baffb28dcb7bee849e2d9a5e2bb7cc25170a1c113::" providerId="AD" clId="Web-{B279289B-7874-F75B-DAC2-F4B3A353269E}" dt="2022-03-21T23:24:09.135" v="815"/>
          <ac:spMkLst>
            <pc:docMk/>
            <pc:sldMk cId="754587697" sldId="352"/>
            <ac:spMk id="6" creationId="{7A9BD76F-FB1E-49C3-878D-3DEF96872E9C}"/>
          </ac:spMkLst>
        </pc:spChg>
        <pc:spChg chg="add">
          <ac:chgData name="Guest User" userId="S::urn:spo:anon#bc72e6c931b442e1b83d9d7baffb28dcb7bee849e2d9a5e2bb7cc25170a1c113::" providerId="AD" clId="Web-{B279289B-7874-F75B-DAC2-F4B3A353269E}" dt="2022-03-21T23:24:09.182" v="816"/>
          <ac:spMkLst>
            <pc:docMk/>
            <pc:sldMk cId="754587697" sldId="352"/>
            <ac:spMk id="7" creationId="{EA31C852-83D3-4FF2-B517-4CB677394908}"/>
          </ac:spMkLst>
        </pc:spChg>
        <pc:graphicFrameChg chg="mod modGraphic">
          <ac:chgData name="Guest User" userId="S::urn:spo:anon#bc72e6c931b442e1b83d9d7baffb28dcb7bee849e2d9a5e2bb7cc25170a1c113::" providerId="AD" clId="Web-{B279289B-7874-F75B-DAC2-F4B3A353269E}" dt="2022-03-21T23:24:18.697" v="817"/>
          <ac:graphicFrameMkLst>
            <pc:docMk/>
            <pc:sldMk cId="754587697" sldId="352"/>
            <ac:graphicFrameMk id="23" creationId="{F4A84191-3BFB-48AA-A343-19DE4EA3891C}"/>
          </ac:graphicFrameMkLst>
        </pc:graphicFrameChg>
        <pc:cxnChg chg="del mod">
          <ac:chgData name="Guest User" userId="S::urn:spo:anon#bc72e6c931b442e1b83d9d7baffb28dcb7bee849e2d9a5e2bb7cc25170a1c113::" providerId="AD" clId="Web-{B279289B-7874-F75B-DAC2-F4B3A353269E}" dt="2022-03-21T23:18:25.174" v="645"/>
          <ac:cxnSpMkLst>
            <pc:docMk/>
            <pc:sldMk cId="754587697" sldId="352"/>
            <ac:cxnSpMk id="25" creationId="{85355DD6-5C90-4237-B742-14BBDBC9C561}"/>
          </ac:cxnSpMkLst>
        </pc:cxnChg>
      </pc:sldChg>
      <pc:sldChg chg="addSp delSp modSp">
        <pc:chgData name="Guest User" userId="S::urn:spo:anon#bc72e6c931b442e1b83d9d7baffb28dcb7bee849e2d9a5e2bb7cc25170a1c113::" providerId="AD" clId="Web-{B279289B-7874-F75B-DAC2-F4B3A353269E}" dt="2022-03-21T23:08:23.021" v="425" actId="20577"/>
        <pc:sldMkLst>
          <pc:docMk/>
          <pc:sldMk cId="2527603155" sldId="353"/>
        </pc:sldMkLst>
        <pc:spChg chg="del">
          <ac:chgData name="Guest User" userId="S::urn:spo:anon#bc72e6c931b442e1b83d9d7baffb28dcb7bee849e2d9a5e2bb7cc25170a1c113::" providerId="AD" clId="Web-{B279289B-7874-F75B-DAC2-F4B3A353269E}" dt="2022-03-21T22:59:43.307" v="247"/>
          <ac:spMkLst>
            <pc:docMk/>
            <pc:sldMk cId="2527603155" sldId="353"/>
            <ac:spMk id="2" creationId="{05B32FC2-75C2-4E78-8341-6D763F2A6695}"/>
          </ac:spMkLst>
        </pc:spChg>
        <pc:spChg chg="mod">
          <ac:chgData name="Guest User" userId="S::urn:spo:anon#bc72e6c931b442e1b83d9d7baffb28dcb7bee849e2d9a5e2bb7cc25170a1c113::" providerId="AD" clId="Web-{B279289B-7874-F75B-DAC2-F4B3A353269E}" dt="2022-03-21T23:08:23.021" v="423" actId="20577"/>
          <ac:spMkLst>
            <pc:docMk/>
            <pc:sldMk cId="2527603155" sldId="353"/>
            <ac:spMk id="6" creationId="{381230BA-653D-44CE-9AC8-F83E1E142ED2}"/>
          </ac:spMkLst>
        </pc:spChg>
        <pc:spChg chg="mod">
          <ac:chgData name="Guest User" userId="S::urn:spo:anon#bc72e6c931b442e1b83d9d7baffb28dcb7bee849e2d9a5e2bb7cc25170a1c113::" providerId="AD" clId="Web-{B279289B-7874-F75B-DAC2-F4B3A353269E}" dt="2022-03-21T23:08:23.021" v="425" actId="20577"/>
          <ac:spMkLst>
            <pc:docMk/>
            <pc:sldMk cId="2527603155" sldId="353"/>
            <ac:spMk id="7" creationId="{5CC2109E-2E2D-46CC-B856-A39FE7E1BE02}"/>
          </ac:spMkLst>
        </pc:spChg>
        <pc:spChg chg="mod">
          <ac:chgData name="Guest User" userId="S::urn:spo:anon#bc72e6c931b442e1b83d9d7baffb28dcb7bee849e2d9a5e2bb7cc25170a1c113::" providerId="AD" clId="Web-{B279289B-7874-F75B-DAC2-F4B3A353269E}" dt="2022-03-21T23:08:23.021" v="424" actId="20577"/>
          <ac:spMkLst>
            <pc:docMk/>
            <pc:sldMk cId="2527603155" sldId="353"/>
            <ac:spMk id="8" creationId="{B1EC9CE1-2695-4B56-ABB2-82D9F7DD622C}"/>
          </ac:spMkLst>
        </pc:spChg>
        <pc:spChg chg="mod">
          <ac:chgData name="Guest User" userId="S::urn:spo:anon#bc72e6c931b442e1b83d9d7baffb28dcb7bee849e2d9a5e2bb7cc25170a1c113::" providerId="AD" clId="Web-{B279289B-7874-F75B-DAC2-F4B3A353269E}" dt="2022-03-21T23:08:08.193" v="418" actId="1076"/>
          <ac:spMkLst>
            <pc:docMk/>
            <pc:sldMk cId="2527603155" sldId="353"/>
            <ac:spMk id="9" creationId="{45C04764-F269-4F64-9737-7683A5D0C3C8}"/>
          </ac:spMkLst>
        </pc:spChg>
        <pc:spChg chg="add del mod">
          <ac:chgData name="Guest User" userId="S::urn:spo:anon#bc72e6c931b442e1b83d9d7baffb28dcb7bee849e2d9a5e2bb7cc25170a1c113::" providerId="AD" clId="Web-{B279289B-7874-F75B-DAC2-F4B3A353269E}" dt="2022-03-21T22:59:51.932" v="257"/>
          <ac:spMkLst>
            <pc:docMk/>
            <pc:sldMk cId="2527603155" sldId="353"/>
            <ac:spMk id="10" creationId="{84BB7842-CF40-4881-A455-4083C02939D1}"/>
          </ac:spMkLst>
        </pc:spChg>
        <pc:spChg chg="add del">
          <ac:chgData name="Guest User" userId="S::urn:spo:anon#bc72e6c931b442e1b83d9d7baffb28dcb7bee849e2d9a5e2bb7cc25170a1c113::" providerId="AD" clId="Web-{B279289B-7874-F75B-DAC2-F4B3A353269E}" dt="2022-03-21T22:59:47.573" v="253"/>
          <ac:spMkLst>
            <pc:docMk/>
            <pc:sldMk cId="2527603155" sldId="353"/>
            <ac:spMk id="13" creationId="{51DBB6D0-C0B0-4499-B07C-FC58D7DD0B91}"/>
          </ac:spMkLst>
        </pc:spChg>
        <pc:spChg chg="add del">
          <ac:chgData name="Guest User" userId="S::urn:spo:anon#bc72e6c931b442e1b83d9d7baffb28dcb7bee849e2d9a5e2bb7cc25170a1c113::" providerId="AD" clId="Web-{B279289B-7874-F75B-DAC2-F4B3A353269E}" dt="2022-03-21T22:59:47.573" v="252"/>
          <ac:spMkLst>
            <pc:docMk/>
            <pc:sldMk cId="2527603155" sldId="353"/>
            <ac:spMk id="14" creationId="{1D322A0D-059D-4F08-9191-63DC8E0AB807}"/>
          </ac:spMkLst>
        </pc:spChg>
        <pc:spChg chg="mod">
          <ac:chgData name="Guest User" userId="S::urn:spo:anon#bc72e6c931b442e1b83d9d7baffb28dcb7bee849e2d9a5e2bb7cc25170a1c113::" providerId="AD" clId="Web-{B279289B-7874-F75B-DAC2-F4B3A353269E}" dt="2022-03-21T23:07:47.130" v="407" actId="1076"/>
          <ac:spMkLst>
            <pc:docMk/>
            <pc:sldMk cId="2527603155" sldId="353"/>
            <ac:spMk id="15" creationId="{1F301F17-C695-479F-8C1E-0A4D7A9FF58B}"/>
          </ac:spMkLst>
        </pc:spChg>
        <pc:spChg chg="mod">
          <ac:chgData name="Guest User" userId="S::urn:spo:anon#bc72e6c931b442e1b83d9d7baffb28dcb7bee849e2d9a5e2bb7cc25170a1c113::" providerId="AD" clId="Web-{B279289B-7874-F75B-DAC2-F4B3A353269E}" dt="2022-03-21T23:07:47.145" v="408" actId="1076"/>
          <ac:spMkLst>
            <pc:docMk/>
            <pc:sldMk cId="2527603155" sldId="353"/>
            <ac:spMk id="17" creationId="{1D0F6373-7FF4-F64B-A9FB-FA5D91D110D1}"/>
          </ac:spMkLst>
        </pc:spChg>
        <pc:spChg chg="add del">
          <ac:chgData name="Guest User" userId="S::urn:spo:anon#bc72e6c931b442e1b83d9d7baffb28dcb7bee849e2d9a5e2bb7cc25170a1c113::" providerId="AD" clId="Web-{B279289B-7874-F75B-DAC2-F4B3A353269E}" dt="2022-03-21T22:59:47.573" v="251"/>
          <ac:spMkLst>
            <pc:docMk/>
            <pc:sldMk cId="2527603155" sldId="353"/>
            <ac:spMk id="20" creationId="{5E7B7FBA-348E-44F3-B562-E8A80C5A0160}"/>
          </ac:spMkLst>
        </pc:spChg>
        <pc:spChg chg="add">
          <ac:chgData name="Guest User" userId="S::urn:spo:anon#bc72e6c931b442e1b83d9d7baffb28dcb7bee849e2d9a5e2bb7cc25170a1c113::" providerId="AD" clId="Web-{B279289B-7874-F75B-DAC2-F4B3A353269E}" dt="2022-03-21T22:59:49.776" v="254"/>
          <ac:spMkLst>
            <pc:docMk/>
            <pc:sldMk cId="2527603155" sldId="353"/>
            <ac:spMk id="22" creationId="{5B0F76B3-C679-463B-BB8B-C3595E84DD74}"/>
          </ac:spMkLst>
        </pc:spChg>
        <pc:spChg chg="add">
          <ac:chgData name="Guest User" userId="S::urn:spo:anon#bc72e6c931b442e1b83d9d7baffb28dcb7bee849e2d9a5e2bb7cc25170a1c113::" providerId="AD" clId="Web-{B279289B-7874-F75B-DAC2-F4B3A353269E}" dt="2022-03-21T22:59:49.792" v="255"/>
          <ac:spMkLst>
            <pc:docMk/>
            <pc:sldMk cId="2527603155" sldId="353"/>
            <ac:spMk id="24" creationId="{EB984162-B707-4F84-850A-0F9907246486}"/>
          </ac:spMkLst>
        </pc:spChg>
        <pc:spChg chg="add">
          <ac:chgData name="Guest User" userId="S::urn:spo:anon#bc72e6c931b442e1b83d9d7baffb28dcb7bee849e2d9a5e2bb7cc25170a1c113::" providerId="AD" clId="Web-{B279289B-7874-F75B-DAC2-F4B3A353269E}" dt="2022-03-21T22:59:49.807" v="256"/>
          <ac:spMkLst>
            <pc:docMk/>
            <pc:sldMk cId="2527603155" sldId="353"/>
            <ac:spMk id="26" creationId="{9233EFE9-45FE-43E8-99CA-36D9DBF343E2}"/>
          </ac:spMkLst>
        </pc:spChg>
        <pc:cxnChg chg="del mod">
          <ac:chgData name="Guest User" userId="S::urn:spo:anon#bc72e6c931b442e1b83d9d7baffb28dcb7bee849e2d9a5e2bb7cc25170a1c113::" providerId="AD" clId="Web-{B279289B-7874-F75B-DAC2-F4B3A353269E}" dt="2022-03-21T23:06:25.316" v="382"/>
          <ac:cxnSpMkLst>
            <pc:docMk/>
            <pc:sldMk cId="2527603155" sldId="353"/>
            <ac:cxnSpMk id="11" creationId="{1855BDCF-1779-4D9F-BBAE-21A561C55758}"/>
          </ac:cxnSpMkLst>
        </pc:cxnChg>
        <pc:cxnChg chg="mod">
          <ac:chgData name="Guest User" userId="S::urn:spo:anon#bc72e6c931b442e1b83d9d7baffb28dcb7bee849e2d9a5e2bb7cc25170a1c113::" providerId="AD" clId="Web-{B279289B-7874-F75B-DAC2-F4B3A353269E}" dt="2022-03-21T23:07:47.099" v="406" actId="1076"/>
          <ac:cxnSpMkLst>
            <pc:docMk/>
            <pc:sldMk cId="2527603155" sldId="353"/>
            <ac:cxnSpMk id="12" creationId="{A94571A4-862E-41DE-A57B-B3E47291AED7}"/>
          </ac:cxnSpMkLst>
        </pc:cxnChg>
        <pc:cxnChg chg="add mod">
          <ac:chgData name="Guest User" userId="S::urn:spo:anon#bc72e6c931b442e1b83d9d7baffb28dcb7bee849e2d9a5e2bb7cc25170a1c113::" providerId="AD" clId="Web-{B279289B-7874-F75B-DAC2-F4B3A353269E}" dt="2022-03-21T23:07:47.161" v="409" actId="1076"/>
          <ac:cxnSpMkLst>
            <pc:docMk/>
            <pc:sldMk cId="2527603155" sldId="353"/>
            <ac:cxnSpMk id="27" creationId="{6EB4A5A2-26B2-4767-AD65-2BB9CEB4CBFB}"/>
          </ac:cxnSpMkLst>
        </pc:cxnChg>
        <pc:cxnChg chg="add mod">
          <ac:chgData name="Guest User" userId="S::urn:spo:anon#bc72e6c931b442e1b83d9d7baffb28dcb7bee849e2d9a5e2bb7cc25170a1c113::" providerId="AD" clId="Web-{B279289B-7874-F75B-DAC2-F4B3A353269E}" dt="2022-03-21T23:08:08.208" v="419" actId="1076"/>
          <ac:cxnSpMkLst>
            <pc:docMk/>
            <pc:sldMk cId="2527603155" sldId="353"/>
            <ac:cxnSpMk id="28" creationId="{F6FFE78A-F8D8-4DFD-8258-5C82EC421929}"/>
          </ac:cxnSpMkLst>
        </pc:cxnChg>
      </pc:sldChg>
      <pc:sldChg chg="addSp delSp modSp add del">
        <pc:chgData name="Guest User" userId="S::urn:spo:anon#bc72e6c931b442e1b83d9d7baffb28dcb7bee849e2d9a5e2bb7cc25170a1c113::" providerId="AD" clId="Web-{B279289B-7874-F75B-DAC2-F4B3A353269E}" dt="2022-03-21T23:25:38.433" v="840"/>
        <pc:sldMkLst>
          <pc:docMk/>
          <pc:sldMk cId="2060296423" sldId="355"/>
        </pc:sldMkLst>
        <pc:spChg chg="add mod">
          <ac:chgData name="Guest User" userId="S::urn:spo:anon#bc72e6c931b442e1b83d9d7baffb28dcb7bee849e2d9a5e2bb7cc25170a1c113::" providerId="AD" clId="Web-{B279289B-7874-F75B-DAC2-F4B3A353269E}" dt="2022-03-21T22:32:48.434" v="142" actId="20577"/>
          <ac:spMkLst>
            <pc:docMk/>
            <pc:sldMk cId="2060296423" sldId="355"/>
            <ac:spMk id="5" creationId="{07F91C78-3BB8-4C26-9A3D-6A00346F5C99}"/>
          </ac:spMkLst>
        </pc:spChg>
        <pc:spChg chg="del mod">
          <ac:chgData name="Guest User" userId="S::urn:spo:anon#bc72e6c931b442e1b83d9d7baffb28dcb7bee849e2d9a5e2bb7cc25170a1c113::" providerId="AD" clId="Web-{B279289B-7874-F75B-DAC2-F4B3A353269E}" dt="2022-03-21T23:25:38.433" v="840"/>
          <ac:spMkLst>
            <pc:docMk/>
            <pc:sldMk cId="2060296423" sldId="355"/>
            <ac:spMk id="7" creationId="{1129B7BA-4DD2-4F48-8014-45C471497F3B}"/>
          </ac:spMkLst>
        </pc:spChg>
        <pc:spChg chg="mod ord">
          <ac:chgData name="Guest User" userId="S::urn:spo:anon#bc72e6c931b442e1b83d9d7baffb28dcb7bee849e2d9a5e2bb7cc25170a1c113::" providerId="AD" clId="Web-{B279289B-7874-F75B-DAC2-F4B3A353269E}" dt="2022-03-21T22:25:39.250" v="38"/>
          <ac:spMkLst>
            <pc:docMk/>
            <pc:sldMk cId="2060296423" sldId="355"/>
            <ac:spMk id="16" creationId="{8A8E2FB6-A608-4B9E-A208-3AABA014F4B7}"/>
          </ac:spMkLst>
        </pc:spChg>
        <pc:spChg chg="del mod">
          <ac:chgData name="Guest User" userId="S::urn:spo:anon#bc72e6c931b442e1b83d9d7baffb28dcb7bee849e2d9a5e2bb7cc25170a1c113::" providerId="AD" clId="Web-{B279289B-7874-F75B-DAC2-F4B3A353269E}" dt="2022-03-21T23:25:36.371" v="839"/>
          <ac:spMkLst>
            <pc:docMk/>
            <pc:sldMk cId="2060296423" sldId="355"/>
            <ac:spMk id="19" creationId="{927189BB-D2EA-495F-988C-3D63C6731950}"/>
          </ac:spMkLst>
        </pc:spChg>
        <pc:spChg chg="add mod">
          <ac:chgData name="Guest User" userId="S::urn:spo:anon#bc72e6c931b442e1b83d9d7baffb28dcb7bee849e2d9a5e2bb7cc25170a1c113::" providerId="AD" clId="Web-{B279289B-7874-F75B-DAC2-F4B3A353269E}" dt="2022-03-21T22:32:48.434" v="144" actId="20577"/>
          <ac:spMkLst>
            <pc:docMk/>
            <pc:sldMk cId="2060296423" sldId="355"/>
            <ac:spMk id="24" creationId="{D2D241B6-6D7E-44C6-B5A1-5644619D5460}"/>
          </ac:spMkLst>
        </pc:spChg>
        <pc:spChg chg="add mod">
          <ac:chgData name="Guest User" userId="S::urn:spo:anon#bc72e6c931b442e1b83d9d7baffb28dcb7bee849e2d9a5e2bb7cc25170a1c113::" providerId="AD" clId="Web-{B279289B-7874-F75B-DAC2-F4B3A353269E}" dt="2022-03-21T22:32:48.450" v="146" actId="20577"/>
          <ac:spMkLst>
            <pc:docMk/>
            <pc:sldMk cId="2060296423" sldId="355"/>
            <ac:spMk id="25" creationId="{E1FCAECD-B04F-47AC-9752-88C37C92D5DD}"/>
          </ac:spMkLst>
        </pc:spChg>
        <pc:spChg chg="del">
          <ac:chgData name="Guest User" userId="S::urn:spo:anon#bc72e6c931b442e1b83d9d7baffb28dcb7bee849e2d9a5e2bb7cc25170a1c113::" providerId="AD" clId="Web-{B279289B-7874-F75B-DAC2-F4B3A353269E}" dt="2022-03-21T21:55:53.028" v="17"/>
          <ac:spMkLst>
            <pc:docMk/>
            <pc:sldMk cId="2060296423" sldId="355"/>
            <ac:spMk id="616" creationId="{00000000-0000-0000-0000-000000000000}"/>
          </ac:spMkLst>
        </pc:spChg>
        <pc:spChg chg="del">
          <ac:chgData name="Guest User" userId="S::urn:spo:anon#bc72e6c931b442e1b83d9d7baffb28dcb7bee849e2d9a5e2bb7cc25170a1c113::" providerId="AD" clId="Web-{B279289B-7874-F75B-DAC2-F4B3A353269E}" dt="2022-03-21T21:55:53.028" v="16"/>
          <ac:spMkLst>
            <pc:docMk/>
            <pc:sldMk cId="2060296423" sldId="355"/>
            <ac:spMk id="620" creationId="{00000000-0000-0000-0000-000000000000}"/>
          </ac:spMkLst>
        </pc:spChg>
        <pc:grpChg chg="del">
          <ac:chgData name="Guest User" userId="S::urn:spo:anon#bc72e6c931b442e1b83d9d7baffb28dcb7bee849e2d9a5e2bb7cc25170a1c113::" providerId="AD" clId="Web-{B279289B-7874-F75B-DAC2-F4B3A353269E}" dt="2022-03-21T21:55:56.060" v="18"/>
          <ac:grpSpMkLst>
            <pc:docMk/>
            <pc:sldMk cId="2060296423" sldId="355"/>
            <ac:grpSpMk id="9" creationId="{05E19E48-B4E9-449E-A058-92E5CEAB7640}"/>
          </ac:grpSpMkLst>
        </pc:grpChg>
        <pc:picChg chg="del">
          <ac:chgData name="Guest User" userId="S::urn:spo:anon#bc72e6c931b442e1b83d9d7baffb28dcb7bee849e2d9a5e2bb7cc25170a1c113::" providerId="AD" clId="Web-{B279289B-7874-F75B-DAC2-F4B3A353269E}" dt="2022-03-21T21:53:19.368" v="15"/>
          <ac:picMkLst>
            <pc:docMk/>
            <pc:sldMk cId="2060296423" sldId="355"/>
            <ac:picMk id="2" creationId="{076398DA-6924-4535-9B44-BDDF42024E00}"/>
          </ac:picMkLst>
        </pc:picChg>
        <pc:picChg chg="add del mod ord">
          <ac:chgData name="Guest User" userId="S::urn:spo:anon#bc72e6c931b442e1b83d9d7baffb28dcb7bee849e2d9a5e2bb7cc25170a1c113::" providerId="AD" clId="Web-{B279289B-7874-F75B-DAC2-F4B3A353269E}" dt="2022-03-21T22:25:11.718" v="30"/>
          <ac:picMkLst>
            <pc:docMk/>
            <pc:sldMk cId="2060296423" sldId="355"/>
            <ac:picMk id="3" creationId="{C7739727-0FF5-4F45-BC9C-C44A1BA08234}"/>
          </ac:picMkLst>
        </pc:picChg>
        <pc:picChg chg="add del mod ord">
          <ac:chgData name="Guest User" userId="S::urn:spo:anon#bc72e6c931b442e1b83d9d7baffb28dcb7bee849e2d9a5e2bb7cc25170a1c113::" providerId="AD" clId="Web-{B279289B-7874-F75B-DAC2-F4B3A353269E}" dt="2022-03-21T22:30:00.883" v="84"/>
          <ac:picMkLst>
            <pc:docMk/>
            <pc:sldMk cId="2060296423" sldId="355"/>
            <ac:picMk id="4" creationId="{0E335878-EC5E-404E-885F-72709982FA62}"/>
          </ac:picMkLst>
        </pc:picChg>
        <pc:picChg chg="add mod ord">
          <ac:chgData name="Guest User" userId="S::urn:spo:anon#bc72e6c931b442e1b83d9d7baffb28dcb7bee849e2d9a5e2bb7cc25170a1c113::" providerId="AD" clId="Web-{B279289B-7874-F75B-DAC2-F4B3A353269E}" dt="2022-03-21T22:32:38.856" v="137" actId="1076"/>
          <ac:picMkLst>
            <pc:docMk/>
            <pc:sldMk cId="2060296423" sldId="355"/>
            <ac:picMk id="6" creationId="{E218F9C1-6B29-4CDC-805D-1F58BA675490}"/>
          </ac:picMkLst>
        </pc:picChg>
      </pc:sldChg>
    </pc:docChg>
  </pc:docChgLst>
  <pc:docChgLst>
    <pc:chgData name="Guest User" userId="S::urn:spo:anon#c437c167f923f422528aee73b5e70e5726914197d2dec7f210a84ae49e8498a7::" providerId="AD" clId="Web-{B60CE266-9AD0-987C-075D-B5A6B43FDD65}"/>
    <pc:docChg chg="modSld">
      <pc:chgData name="Guest User" userId="S::urn:spo:anon#c437c167f923f422528aee73b5e70e5726914197d2dec7f210a84ae49e8498a7::" providerId="AD" clId="Web-{B60CE266-9AD0-987C-075D-B5A6B43FDD65}" dt="2022-04-04T16:10:22.497" v="96" actId="20577"/>
      <pc:docMkLst>
        <pc:docMk/>
      </pc:docMkLst>
      <pc:sldChg chg="addSp delSp modSp">
        <pc:chgData name="Guest User" userId="S::urn:spo:anon#c437c167f923f422528aee73b5e70e5726914197d2dec7f210a84ae49e8498a7::" providerId="AD" clId="Web-{B60CE266-9AD0-987C-075D-B5A6B43FDD65}" dt="2022-04-04T14:27:46.444" v="44"/>
        <pc:sldMkLst>
          <pc:docMk/>
          <pc:sldMk cId="3720673345" sldId="336"/>
        </pc:sldMkLst>
        <pc:spChg chg="del mod">
          <ac:chgData name="Guest User" userId="S::urn:spo:anon#c437c167f923f422528aee73b5e70e5726914197d2dec7f210a84ae49e8498a7::" providerId="AD" clId="Web-{B60CE266-9AD0-987C-075D-B5A6B43FDD65}" dt="2022-04-04T14:27:46.444" v="44"/>
          <ac:spMkLst>
            <pc:docMk/>
            <pc:sldMk cId="3720673345" sldId="336"/>
            <ac:spMk id="2" creationId="{8590B0AD-CF71-4028-AE61-68B4F1150A4F}"/>
          </ac:spMkLst>
        </pc:spChg>
        <pc:picChg chg="add mod">
          <ac:chgData name="Guest User" userId="S::urn:spo:anon#c437c167f923f422528aee73b5e70e5726914197d2dec7f210a84ae49e8498a7::" providerId="AD" clId="Web-{B60CE266-9AD0-987C-075D-B5A6B43FDD65}" dt="2022-04-04T14:27:25.865" v="41" actId="14100"/>
          <ac:picMkLst>
            <pc:docMk/>
            <pc:sldMk cId="3720673345" sldId="336"/>
            <ac:picMk id="3" creationId="{B724F98D-FF1B-BCB1-E2C4-E208C15BF35F}"/>
          </ac:picMkLst>
        </pc:picChg>
        <pc:picChg chg="add mod ord modCrop">
          <ac:chgData name="Guest User" userId="S::urn:spo:anon#c437c167f923f422528aee73b5e70e5726914197d2dec7f210a84ae49e8498a7::" providerId="AD" clId="Web-{B60CE266-9AD0-987C-075D-B5A6B43FDD65}" dt="2022-04-04T14:27:30.709" v="42" actId="1076"/>
          <ac:picMkLst>
            <pc:docMk/>
            <pc:sldMk cId="3720673345" sldId="336"/>
            <ac:picMk id="4" creationId="{09CA8A60-BBAA-9446-D21F-66F43DA127B3}"/>
          </ac:picMkLst>
        </pc:picChg>
        <pc:picChg chg="add mod">
          <ac:chgData name="Guest User" userId="S::urn:spo:anon#c437c167f923f422528aee73b5e70e5726914197d2dec7f210a84ae49e8498a7::" providerId="AD" clId="Web-{B60CE266-9AD0-987C-075D-B5A6B43FDD65}" dt="2022-04-04T14:26:40.895" v="30" actId="1076"/>
          <ac:picMkLst>
            <pc:docMk/>
            <pc:sldMk cId="3720673345" sldId="336"/>
            <ac:picMk id="6" creationId="{C960AA0D-8A45-1E16-84E3-8E85DDC162F3}"/>
          </ac:picMkLst>
        </pc:picChg>
      </pc:sldChg>
      <pc:sldChg chg="modSp">
        <pc:chgData name="Guest User" userId="S::urn:spo:anon#c437c167f923f422528aee73b5e70e5726914197d2dec7f210a84ae49e8498a7::" providerId="AD" clId="Web-{B60CE266-9AD0-987C-075D-B5A6B43FDD65}" dt="2022-04-04T16:10:22.497" v="96" actId="20577"/>
        <pc:sldMkLst>
          <pc:docMk/>
          <pc:sldMk cId="3762238417" sldId="367"/>
        </pc:sldMkLst>
        <pc:spChg chg="mod">
          <ac:chgData name="Guest User" userId="S::urn:spo:anon#c437c167f923f422528aee73b5e70e5726914197d2dec7f210a84ae49e8498a7::" providerId="AD" clId="Web-{B60CE266-9AD0-987C-075D-B5A6B43FDD65}" dt="2022-04-04T16:10:22.497" v="96" actId="20577"/>
          <ac:spMkLst>
            <pc:docMk/>
            <pc:sldMk cId="3762238417" sldId="367"/>
            <ac:spMk id="3" creationId="{346B9D98-5C00-250F-2E85-76FD3A920D22}"/>
          </ac:spMkLst>
        </pc:spChg>
        <pc:spChg chg="mod">
          <ac:chgData name="Guest User" userId="S::urn:spo:anon#c437c167f923f422528aee73b5e70e5726914197d2dec7f210a84ae49e8498a7::" providerId="AD" clId="Web-{B60CE266-9AD0-987C-075D-B5A6B43FDD65}" dt="2022-04-04T15:06:53.812" v="66" actId="1076"/>
          <ac:spMkLst>
            <pc:docMk/>
            <pc:sldMk cId="3762238417" sldId="367"/>
            <ac:spMk id="9" creationId="{A559BC09-4387-488E-85BC-CBE75B1CE17C}"/>
          </ac:spMkLst>
        </pc:spChg>
      </pc:sldChg>
      <pc:sldChg chg="modSp">
        <pc:chgData name="Guest User" userId="S::urn:spo:anon#c437c167f923f422528aee73b5e70e5726914197d2dec7f210a84ae49e8498a7::" providerId="AD" clId="Web-{B60CE266-9AD0-987C-075D-B5A6B43FDD65}" dt="2022-04-04T15:06:43.952" v="65" actId="20577"/>
        <pc:sldMkLst>
          <pc:docMk/>
          <pc:sldMk cId="874573340" sldId="373"/>
        </pc:sldMkLst>
        <pc:spChg chg="mod">
          <ac:chgData name="Guest User" userId="S::urn:spo:anon#c437c167f923f422528aee73b5e70e5726914197d2dec7f210a84ae49e8498a7::" providerId="AD" clId="Web-{B60CE266-9AD0-987C-075D-B5A6B43FDD65}" dt="2022-04-04T15:05:49.982" v="63" actId="1076"/>
          <ac:spMkLst>
            <pc:docMk/>
            <pc:sldMk cId="874573340" sldId="373"/>
            <ac:spMk id="15" creationId="{C4C62486-463F-4FC0-B499-CE49552602ED}"/>
          </ac:spMkLst>
        </pc:spChg>
        <pc:spChg chg="mod">
          <ac:chgData name="Guest User" userId="S::urn:spo:anon#c437c167f923f422528aee73b5e70e5726914197d2dec7f210a84ae49e8498a7::" providerId="AD" clId="Web-{B60CE266-9AD0-987C-075D-B5A6B43FDD65}" dt="2022-04-04T15:06:43.952" v="65" actId="20577"/>
          <ac:spMkLst>
            <pc:docMk/>
            <pc:sldMk cId="874573340" sldId="373"/>
            <ac:spMk id="16" creationId="{FA350308-1FE7-45EE-B3DC-3D3434DF4E7B}"/>
          </ac:spMkLst>
        </pc:spChg>
      </pc:sldChg>
    </pc:docChg>
  </pc:docChgLst>
  <pc:docChgLst>
    <pc:chgData name="Guest User" userId="S::urn:spo:anon#c437c167f923f422528aee73b5e70e5726914197d2dec7f210a84ae49e8498a7::" providerId="AD" clId="Web-{46B59B1E-7099-BE76-F539-CA3DCFB5CEFC}"/>
    <pc:docChg chg="modSld">
      <pc:chgData name="Guest User" userId="S::urn:spo:anon#c437c167f923f422528aee73b5e70e5726914197d2dec7f210a84ae49e8498a7::" providerId="AD" clId="Web-{46B59B1E-7099-BE76-F539-CA3DCFB5CEFC}" dt="2022-04-04T20:50:08.924" v="877" actId="20577"/>
      <pc:docMkLst>
        <pc:docMk/>
      </pc:docMkLst>
      <pc:sldChg chg="addSp delSp modSp">
        <pc:chgData name="Guest User" userId="S::urn:spo:anon#c437c167f923f422528aee73b5e70e5726914197d2dec7f210a84ae49e8498a7::" providerId="AD" clId="Web-{46B59B1E-7099-BE76-F539-CA3DCFB5CEFC}" dt="2022-04-04T17:21:54.684" v="55"/>
        <pc:sldMkLst>
          <pc:docMk/>
          <pc:sldMk cId="0" sldId="264"/>
        </pc:sldMkLst>
        <pc:spChg chg="mod">
          <ac:chgData name="Guest User" userId="S::urn:spo:anon#c437c167f923f422528aee73b5e70e5726914197d2dec7f210a84ae49e8498a7::" providerId="AD" clId="Web-{46B59B1E-7099-BE76-F539-CA3DCFB5CEFC}" dt="2022-04-04T17:19:53.306" v="18" actId="1076"/>
          <ac:spMkLst>
            <pc:docMk/>
            <pc:sldMk cId="0" sldId="264"/>
            <ac:spMk id="27" creationId="{5326A9EE-D7DA-42EE-827F-1C7E490483EE}"/>
          </ac:spMkLst>
        </pc:spChg>
        <pc:spChg chg="add del mod">
          <ac:chgData name="Guest User" userId="S::urn:spo:anon#c437c167f923f422528aee73b5e70e5726914197d2dec7f210a84ae49e8498a7::" providerId="AD" clId="Web-{46B59B1E-7099-BE76-F539-CA3DCFB5CEFC}" dt="2022-04-04T17:21:54.684" v="55"/>
          <ac:spMkLst>
            <pc:docMk/>
            <pc:sldMk cId="0" sldId="264"/>
            <ac:spMk id="28" creationId="{18B58589-A987-23D5-39E7-3AE12A182C14}"/>
          </ac:spMkLst>
        </pc:spChg>
        <pc:spChg chg="mod">
          <ac:chgData name="Guest User" userId="S::urn:spo:anon#c437c167f923f422528aee73b5e70e5726914197d2dec7f210a84ae49e8498a7::" providerId="AD" clId="Web-{46B59B1E-7099-BE76-F539-CA3DCFB5CEFC}" dt="2022-04-04T17:21:49.918" v="54" actId="20577"/>
          <ac:spMkLst>
            <pc:docMk/>
            <pc:sldMk cId="0" sldId="264"/>
            <ac:spMk id="29" creationId="{CE4534C1-122C-4584-960F-B0117C9A488A}"/>
          </ac:spMkLst>
        </pc:spChg>
      </pc:sldChg>
      <pc:sldChg chg="modSp">
        <pc:chgData name="Guest User" userId="S::urn:spo:anon#c437c167f923f422528aee73b5e70e5726914197d2dec7f210a84ae49e8498a7::" providerId="AD" clId="Web-{46B59B1E-7099-BE76-F539-CA3DCFB5CEFC}" dt="2022-04-04T17:11:43.217" v="0" actId="14100"/>
        <pc:sldMkLst>
          <pc:docMk/>
          <pc:sldMk cId="3720673345" sldId="336"/>
        </pc:sldMkLst>
        <pc:spChg chg="mod">
          <ac:chgData name="Guest User" userId="S::urn:spo:anon#c437c167f923f422528aee73b5e70e5726914197d2dec7f210a84ae49e8498a7::" providerId="AD" clId="Web-{46B59B1E-7099-BE76-F539-CA3DCFB5CEFC}" dt="2022-04-04T17:11:43.217" v="0" actId="14100"/>
          <ac:spMkLst>
            <pc:docMk/>
            <pc:sldMk cId="3720673345" sldId="336"/>
            <ac:spMk id="12" creationId="{2A18C4E8-C461-494D-81E4-7EB6C08B7B32}"/>
          </ac:spMkLst>
        </pc:spChg>
      </pc:sldChg>
      <pc:sldChg chg="addSp modSp">
        <pc:chgData name="Guest User" userId="S::urn:spo:anon#c437c167f923f422528aee73b5e70e5726914197d2dec7f210a84ae49e8498a7::" providerId="AD" clId="Web-{46B59B1E-7099-BE76-F539-CA3DCFB5CEFC}" dt="2022-04-04T17:28:50.412" v="83" actId="1076"/>
        <pc:sldMkLst>
          <pc:docMk/>
          <pc:sldMk cId="1209993513" sldId="338"/>
        </pc:sldMkLst>
        <pc:spChg chg="add mod">
          <ac:chgData name="Guest User" userId="S::urn:spo:anon#c437c167f923f422528aee73b5e70e5726914197d2dec7f210a84ae49e8498a7::" providerId="AD" clId="Web-{46B59B1E-7099-BE76-F539-CA3DCFB5CEFC}" dt="2022-04-04T17:28:50.412" v="83" actId="1076"/>
          <ac:spMkLst>
            <pc:docMk/>
            <pc:sldMk cId="1209993513" sldId="338"/>
            <ac:spMk id="5" creationId="{0EC3D609-2E88-5746-8FAF-8AE853A004A1}"/>
          </ac:spMkLst>
        </pc:spChg>
        <pc:spChg chg="mod">
          <ac:chgData name="Guest User" userId="S::urn:spo:anon#c437c167f923f422528aee73b5e70e5726914197d2dec7f210a84ae49e8498a7::" providerId="AD" clId="Web-{46B59B1E-7099-BE76-F539-CA3DCFB5CEFC}" dt="2022-04-04T17:27:02.957" v="57" actId="1076"/>
          <ac:spMkLst>
            <pc:docMk/>
            <pc:sldMk cId="1209993513" sldId="338"/>
            <ac:spMk id="16" creationId="{F29BBF2D-5F15-45EC-BE2A-14ABF1E18DB5}"/>
          </ac:spMkLst>
        </pc:spChg>
        <pc:spChg chg="mod">
          <ac:chgData name="Guest User" userId="S::urn:spo:anon#c437c167f923f422528aee73b5e70e5726914197d2dec7f210a84ae49e8498a7::" providerId="AD" clId="Web-{46B59B1E-7099-BE76-F539-CA3DCFB5CEFC}" dt="2022-04-04T17:28:00.974" v="60" actId="14100"/>
          <ac:spMkLst>
            <pc:docMk/>
            <pc:sldMk cId="1209993513" sldId="338"/>
            <ac:spMk id="601" creationId="{00000000-0000-0000-0000-000000000000}"/>
          </ac:spMkLst>
        </pc:spChg>
        <pc:spChg chg="mod">
          <ac:chgData name="Guest User" userId="S::urn:spo:anon#c437c167f923f422528aee73b5e70e5726914197d2dec7f210a84ae49e8498a7::" providerId="AD" clId="Web-{46B59B1E-7099-BE76-F539-CA3DCFB5CEFC}" dt="2022-04-04T17:26:57.832" v="56" actId="14100"/>
          <ac:spMkLst>
            <pc:docMk/>
            <pc:sldMk cId="1209993513" sldId="338"/>
            <ac:spMk id="605" creationId="{00000000-0000-0000-0000-000000000000}"/>
          </ac:spMkLst>
        </pc:spChg>
        <pc:picChg chg="mod">
          <ac:chgData name="Guest User" userId="S::urn:spo:anon#c437c167f923f422528aee73b5e70e5726914197d2dec7f210a84ae49e8498a7::" providerId="AD" clId="Web-{46B59B1E-7099-BE76-F539-CA3DCFB5CEFC}" dt="2022-04-04T17:27:53.458" v="59" actId="1076"/>
          <ac:picMkLst>
            <pc:docMk/>
            <pc:sldMk cId="1209993513" sldId="338"/>
            <ac:picMk id="4" creationId="{E28D81F6-4FB1-0216-2B96-210D9B8C15D6}"/>
          </ac:picMkLst>
        </pc:picChg>
      </pc:sldChg>
      <pc:sldChg chg="modSp">
        <pc:chgData name="Guest User" userId="S::urn:spo:anon#c437c167f923f422528aee73b5e70e5726914197d2dec7f210a84ae49e8498a7::" providerId="AD" clId="Web-{46B59B1E-7099-BE76-F539-CA3DCFB5CEFC}" dt="2022-04-04T20:50:01.877" v="876" actId="20577"/>
        <pc:sldMkLst>
          <pc:docMk/>
          <pc:sldMk cId="4114424017" sldId="342"/>
        </pc:sldMkLst>
        <pc:spChg chg="mod">
          <ac:chgData name="Guest User" userId="S::urn:spo:anon#c437c167f923f422528aee73b5e70e5726914197d2dec7f210a84ae49e8498a7::" providerId="AD" clId="Web-{46B59B1E-7099-BE76-F539-CA3DCFB5CEFC}" dt="2022-04-04T18:10:04.704" v="210" actId="20577"/>
          <ac:spMkLst>
            <pc:docMk/>
            <pc:sldMk cId="4114424017" sldId="342"/>
            <ac:spMk id="6" creationId="{27A3C5F9-CE7F-4416-9B0D-9A54A7CAF05D}"/>
          </ac:spMkLst>
        </pc:spChg>
        <pc:spChg chg="mod">
          <ac:chgData name="Guest User" userId="S::urn:spo:anon#c437c167f923f422528aee73b5e70e5726914197d2dec7f210a84ae49e8498a7::" providerId="AD" clId="Web-{46B59B1E-7099-BE76-F539-CA3DCFB5CEFC}" dt="2022-04-04T20:50:01.877" v="876" actId="20577"/>
          <ac:spMkLst>
            <pc:docMk/>
            <pc:sldMk cId="4114424017" sldId="342"/>
            <ac:spMk id="7" creationId="{3A459B18-D705-4DD6-8A98-83D381B62CE4}"/>
          </ac:spMkLst>
        </pc:spChg>
      </pc:sldChg>
      <pc:sldChg chg="modSp">
        <pc:chgData name="Guest User" userId="S::urn:spo:anon#c437c167f923f422528aee73b5e70e5726914197d2dec7f210a84ae49e8498a7::" providerId="AD" clId="Web-{46B59B1E-7099-BE76-F539-CA3DCFB5CEFC}" dt="2022-04-04T20:50:08.924" v="877" actId="20577"/>
        <pc:sldMkLst>
          <pc:docMk/>
          <pc:sldMk cId="754587697" sldId="352"/>
        </pc:sldMkLst>
        <pc:spChg chg="mod">
          <ac:chgData name="Guest User" userId="S::urn:spo:anon#c437c167f923f422528aee73b5e70e5726914197d2dec7f210a84ae49e8498a7::" providerId="AD" clId="Web-{46B59B1E-7099-BE76-F539-CA3DCFB5CEFC}" dt="2022-04-04T18:10:25.454" v="216" actId="14100"/>
          <ac:spMkLst>
            <pc:docMk/>
            <pc:sldMk cId="754587697" sldId="352"/>
            <ac:spMk id="6" creationId="{7A9BD76F-FB1E-49C3-878D-3DEF96872E9C}"/>
          </ac:spMkLst>
        </pc:spChg>
        <pc:spChg chg="mod">
          <ac:chgData name="Guest User" userId="S::urn:spo:anon#c437c167f923f422528aee73b5e70e5726914197d2dec7f210a84ae49e8498a7::" providerId="AD" clId="Web-{46B59B1E-7099-BE76-F539-CA3DCFB5CEFC}" dt="2022-04-04T20:50:08.924" v="877" actId="20577"/>
          <ac:spMkLst>
            <pc:docMk/>
            <pc:sldMk cId="754587697" sldId="352"/>
            <ac:spMk id="7" creationId="{EA31C852-83D3-4FF2-B517-4CB677394908}"/>
          </ac:spMkLst>
        </pc:spChg>
      </pc:sldChg>
      <pc:sldChg chg="modSp">
        <pc:chgData name="Guest User" userId="S::urn:spo:anon#c437c167f923f422528aee73b5e70e5726914197d2dec7f210a84ae49e8498a7::" providerId="AD" clId="Web-{46B59B1E-7099-BE76-F539-CA3DCFB5CEFC}" dt="2022-04-04T19:00:41.398" v="843" actId="20577"/>
        <pc:sldMkLst>
          <pc:docMk/>
          <pc:sldMk cId="2576879601" sldId="365"/>
        </pc:sldMkLst>
        <pc:spChg chg="mod">
          <ac:chgData name="Guest User" userId="S::urn:spo:anon#c437c167f923f422528aee73b5e70e5726914197d2dec7f210a84ae49e8498a7::" providerId="AD" clId="Web-{46B59B1E-7099-BE76-F539-CA3DCFB5CEFC}" dt="2022-04-04T18:42:38.998" v="564" actId="14100"/>
          <ac:spMkLst>
            <pc:docMk/>
            <pc:sldMk cId="2576879601" sldId="365"/>
            <ac:spMk id="2" creationId="{AB52A157-2CB8-6DCB-8D3B-00713BF25DCA}"/>
          </ac:spMkLst>
        </pc:spChg>
        <pc:spChg chg="mod">
          <ac:chgData name="Guest User" userId="S::urn:spo:anon#c437c167f923f422528aee73b5e70e5726914197d2dec7f210a84ae49e8498a7::" providerId="AD" clId="Web-{46B59B1E-7099-BE76-F539-CA3DCFB5CEFC}" dt="2022-04-04T19:00:41.398" v="843" actId="20577"/>
          <ac:spMkLst>
            <pc:docMk/>
            <pc:sldMk cId="2576879601" sldId="365"/>
            <ac:spMk id="3" creationId="{346B9D98-5C00-250F-2E85-76FD3A920D22}"/>
          </ac:spMkLst>
        </pc:spChg>
        <pc:spChg chg="mod">
          <ac:chgData name="Guest User" userId="S::urn:spo:anon#c437c167f923f422528aee73b5e70e5726914197d2dec7f210a84ae49e8498a7::" providerId="AD" clId="Web-{46B59B1E-7099-BE76-F539-CA3DCFB5CEFC}" dt="2022-04-04T18:58:55.193" v="811" actId="14100"/>
          <ac:spMkLst>
            <pc:docMk/>
            <pc:sldMk cId="2576879601" sldId="365"/>
            <ac:spMk id="5" creationId="{B7651FB1-3FE6-E20B-3600-01AAC0F88061}"/>
          </ac:spMkLst>
        </pc:spChg>
      </pc:sldChg>
      <pc:sldChg chg="addSp delSp modSp">
        <pc:chgData name="Guest User" userId="S::urn:spo:anon#c437c167f923f422528aee73b5e70e5726914197d2dec7f210a84ae49e8498a7::" providerId="AD" clId="Web-{46B59B1E-7099-BE76-F539-CA3DCFB5CEFC}" dt="2022-04-04T19:06:22.859" v="872" actId="1076"/>
        <pc:sldMkLst>
          <pc:docMk/>
          <pc:sldMk cId="1695560817" sldId="366"/>
        </pc:sldMkLst>
        <pc:spChg chg="add mod">
          <ac:chgData name="Guest User" userId="S::urn:spo:anon#c437c167f923f422528aee73b5e70e5726914197d2dec7f210a84ae49e8498a7::" providerId="AD" clId="Web-{46B59B1E-7099-BE76-F539-CA3DCFB5CEFC}" dt="2022-04-04T18:09:27.937" v="202"/>
          <ac:spMkLst>
            <pc:docMk/>
            <pc:sldMk cId="1695560817" sldId="366"/>
            <ac:spMk id="4" creationId="{7178F03B-753C-A3A6-CE72-0DE92988886C}"/>
          </ac:spMkLst>
        </pc:spChg>
        <pc:spChg chg="add mod">
          <ac:chgData name="Guest User" userId="S::urn:spo:anon#c437c167f923f422528aee73b5e70e5726914197d2dec7f210a84ae49e8498a7::" providerId="AD" clId="Web-{46B59B1E-7099-BE76-F539-CA3DCFB5CEFC}" dt="2022-04-04T18:11:27.549" v="230" actId="20577"/>
          <ac:spMkLst>
            <pc:docMk/>
            <pc:sldMk cId="1695560817" sldId="366"/>
            <ac:spMk id="5" creationId="{0BD814A1-8A3A-D6C7-A428-EFF601806E48}"/>
          </ac:spMkLst>
        </pc:spChg>
        <pc:spChg chg="mod">
          <ac:chgData name="Guest User" userId="S::urn:spo:anon#c437c167f923f422528aee73b5e70e5726914197d2dec7f210a84ae49e8498a7::" providerId="AD" clId="Web-{46B59B1E-7099-BE76-F539-CA3DCFB5CEFC}" dt="2022-04-04T18:09:10.890" v="198" actId="1076"/>
          <ac:spMkLst>
            <pc:docMk/>
            <pc:sldMk cId="1695560817" sldId="366"/>
            <ac:spMk id="7" creationId="{13934D1C-6E4A-EDA6-05C5-4249C9B8C8B5}"/>
          </ac:spMkLst>
        </pc:spChg>
        <pc:spChg chg="add mod">
          <ac:chgData name="Guest User" userId="S::urn:spo:anon#c437c167f923f422528aee73b5e70e5726914197d2dec7f210a84ae49e8498a7::" providerId="AD" clId="Web-{46B59B1E-7099-BE76-F539-CA3DCFB5CEFC}" dt="2022-04-04T19:06:22.859" v="872" actId="1076"/>
          <ac:spMkLst>
            <pc:docMk/>
            <pc:sldMk cId="1695560817" sldId="366"/>
            <ac:spMk id="8" creationId="{6E60928D-F747-4E02-5F0E-A23E862AB85C}"/>
          </ac:spMkLst>
        </pc:spChg>
        <pc:spChg chg="mod">
          <ac:chgData name="Guest User" userId="S::urn:spo:anon#c437c167f923f422528aee73b5e70e5726914197d2dec7f210a84ae49e8498a7::" providerId="AD" clId="Web-{46B59B1E-7099-BE76-F539-CA3DCFB5CEFC}" dt="2022-04-04T18:09:10.296" v="168" actId="1076"/>
          <ac:spMkLst>
            <pc:docMk/>
            <pc:sldMk cId="1695560817" sldId="366"/>
            <ac:spMk id="26" creationId="{955AC05E-33FB-3C44-F3BC-31A82617FF2F}"/>
          </ac:spMkLst>
        </pc:spChg>
        <pc:spChg chg="mod">
          <ac:chgData name="Guest User" userId="S::urn:spo:anon#c437c167f923f422528aee73b5e70e5726914197d2dec7f210a84ae49e8498a7::" providerId="AD" clId="Web-{46B59B1E-7099-BE76-F539-CA3DCFB5CEFC}" dt="2022-04-04T18:09:10.312" v="169" actId="1076"/>
          <ac:spMkLst>
            <pc:docMk/>
            <pc:sldMk cId="1695560817" sldId="366"/>
            <ac:spMk id="28" creationId="{6BCD0965-B080-4C07-162C-B1793916C7AE}"/>
          </ac:spMkLst>
        </pc:spChg>
        <pc:spChg chg="mod">
          <ac:chgData name="Guest User" userId="S::urn:spo:anon#c437c167f923f422528aee73b5e70e5726914197d2dec7f210a84ae49e8498a7::" providerId="AD" clId="Web-{46B59B1E-7099-BE76-F539-CA3DCFB5CEFC}" dt="2022-04-04T18:09:10.327" v="170" actId="1076"/>
          <ac:spMkLst>
            <pc:docMk/>
            <pc:sldMk cId="1695560817" sldId="366"/>
            <ac:spMk id="34" creationId="{4DF9B8DF-A76D-75E1-F47E-E16EA41AAFC1}"/>
          </ac:spMkLst>
        </pc:spChg>
        <pc:spChg chg="mod">
          <ac:chgData name="Guest User" userId="S::urn:spo:anon#c437c167f923f422528aee73b5e70e5726914197d2dec7f210a84ae49e8498a7::" providerId="AD" clId="Web-{46B59B1E-7099-BE76-F539-CA3DCFB5CEFC}" dt="2022-04-04T18:09:10.343" v="171" actId="1076"/>
          <ac:spMkLst>
            <pc:docMk/>
            <pc:sldMk cId="1695560817" sldId="366"/>
            <ac:spMk id="36" creationId="{B54A5F69-1C30-7571-6B17-59787A961DAF}"/>
          </ac:spMkLst>
        </pc:spChg>
        <pc:spChg chg="mod">
          <ac:chgData name="Guest User" userId="S::urn:spo:anon#c437c167f923f422528aee73b5e70e5726914197d2dec7f210a84ae49e8498a7::" providerId="AD" clId="Web-{46B59B1E-7099-BE76-F539-CA3DCFB5CEFC}" dt="2022-04-04T18:35:00.285" v="504" actId="14100"/>
          <ac:spMkLst>
            <pc:docMk/>
            <pc:sldMk cId="1695560817" sldId="366"/>
            <ac:spMk id="40" creationId="{611EBE9E-2A7C-8DB0-CAE5-712C95EA2AD3}"/>
          </ac:spMkLst>
        </pc:spChg>
        <pc:spChg chg="mod">
          <ac:chgData name="Guest User" userId="S::urn:spo:anon#c437c167f923f422528aee73b5e70e5726914197d2dec7f210a84ae49e8498a7::" providerId="AD" clId="Web-{46B59B1E-7099-BE76-F539-CA3DCFB5CEFC}" dt="2022-04-04T18:35:00.300" v="505" actId="14100"/>
          <ac:spMkLst>
            <pc:docMk/>
            <pc:sldMk cId="1695560817" sldId="366"/>
            <ac:spMk id="41" creationId="{3B6580CA-499D-CC3F-919D-5AA5927A4604}"/>
          </ac:spMkLst>
        </pc:spChg>
        <pc:spChg chg="mod">
          <ac:chgData name="Guest User" userId="S::urn:spo:anon#c437c167f923f422528aee73b5e70e5726914197d2dec7f210a84ae49e8498a7::" providerId="AD" clId="Web-{46B59B1E-7099-BE76-F539-CA3DCFB5CEFC}" dt="2022-04-04T18:35:00.316" v="506" actId="14100"/>
          <ac:spMkLst>
            <pc:docMk/>
            <pc:sldMk cId="1695560817" sldId="366"/>
            <ac:spMk id="42" creationId="{1B08A347-B138-5843-98E6-3B81B9906B8E}"/>
          </ac:spMkLst>
        </pc:spChg>
        <pc:spChg chg="mod">
          <ac:chgData name="Guest User" userId="S::urn:spo:anon#c437c167f923f422528aee73b5e70e5726914197d2dec7f210a84ae49e8498a7::" providerId="AD" clId="Web-{46B59B1E-7099-BE76-F539-CA3DCFB5CEFC}" dt="2022-04-04T18:35:00.332" v="507" actId="14100"/>
          <ac:spMkLst>
            <pc:docMk/>
            <pc:sldMk cId="1695560817" sldId="366"/>
            <ac:spMk id="45" creationId="{BB66F23D-66B3-02EE-5766-5C1F76D9CAFF}"/>
          </ac:spMkLst>
        </pc:spChg>
        <pc:spChg chg="mod">
          <ac:chgData name="Guest User" userId="S::urn:spo:anon#c437c167f923f422528aee73b5e70e5726914197d2dec7f210a84ae49e8498a7::" providerId="AD" clId="Web-{46B59B1E-7099-BE76-F539-CA3DCFB5CEFC}" dt="2022-04-04T18:09:10.374" v="172" actId="1076"/>
          <ac:spMkLst>
            <pc:docMk/>
            <pc:sldMk cId="1695560817" sldId="366"/>
            <ac:spMk id="46" creationId="{1E1C1585-D404-40C5-7DD6-1A36C13365DD}"/>
          </ac:spMkLst>
        </pc:spChg>
        <pc:spChg chg="mod">
          <ac:chgData name="Guest User" userId="S::urn:spo:anon#c437c167f923f422528aee73b5e70e5726914197d2dec7f210a84ae49e8498a7::" providerId="AD" clId="Web-{46B59B1E-7099-BE76-F539-CA3DCFB5CEFC}" dt="2022-04-04T18:35:16.332" v="515" actId="1076"/>
          <ac:spMkLst>
            <pc:docMk/>
            <pc:sldMk cId="1695560817" sldId="366"/>
            <ac:spMk id="47" creationId="{635EA343-E326-C59A-DD60-9A2325E5F077}"/>
          </ac:spMkLst>
        </pc:spChg>
        <pc:spChg chg="mod">
          <ac:chgData name="Guest User" userId="S::urn:spo:anon#c437c167f923f422528aee73b5e70e5726914197d2dec7f210a84ae49e8498a7::" providerId="AD" clId="Web-{46B59B1E-7099-BE76-F539-CA3DCFB5CEFC}" dt="2022-04-04T18:35:16.348" v="516" actId="1076"/>
          <ac:spMkLst>
            <pc:docMk/>
            <pc:sldMk cId="1695560817" sldId="366"/>
            <ac:spMk id="55" creationId="{848D1D00-5AAC-E43D-57E3-DF6A3967DF99}"/>
          </ac:spMkLst>
        </pc:spChg>
        <pc:spChg chg="mod">
          <ac:chgData name="Guest User" userId="S::urn:spo:anon#c437c167f923f422528aee73b5e70e5726914197d2dec7f210a84ae49e8498a7::" providerId="AD" clId="Web-{46B59B1E-7099-BE76-F539-CA3DCFB5CEFC}" dt="2022-04-04T18:35:00.394" v="510" actId="14100"/>
          <ac:spMkLst>
            <pc:docMk/>
            <pc:sldMk cId="1695560817" sldId="366"/>
            <ac:spMk id="57" creationId="{517415E3-5292-CB76-E3BF-5A88419C6143}"/>
          </ac:spMkLst>
        </pc:spChg>
        <pc:spChg chg="add mod">
          <ac:chgData name="Guest User" userId="S::urn:spo:anon#c437c167f923f422528aee73b5e70e5726914197d2dec7f210a84ae49e8498a7::" providerId="AD" clId="Web-{46B59B1E-7099-BE76-F539-CA3DCFB5CEFC}" dt="2022-04-04T18:35:00.410" v="511" actId="14100"/>
          <ac:spMkLst>
            <pc:docMk/>
            <pc:sldMk cId="1695560817" sldId="366"/>
            <ac:spMk id="67" creationId="{ADFAC7F7-AEE5-A67D-FFCB-EBDD5EEB5CF0}"/>
          </ac:spMkLst>
        </pc:spChg>
        <pc:spChg chg="add mod">
          <ac:chgData name="Guest User" userId="S::urn:spo:anon#c437c167f923f422528aee73b5e70e5726914197d2dec7f210a84ae49e8498a7::" providerId="AD" clId="Web-{46B59B1E-7099-BE76-F539-CA3DCFB5CEFC}" dt="2022-04-04T18:35:00.441" v="512" actId="14100"/>
          <ac:spMkLst>
            <pc:docMk/>
            <pc:sldMk cId="1695560817" sldId="366"/>
            <ac:spMk id="68" creationId="{861BABA1-876C-78CE-7F83-46D5D21EA49D}"/>
          </ac:spMkLst>
        </pc:spChg>
        <pc:spChg chg="add mod">
          <ac:chgData name="Guest User" userId="S::urn:spo:anon#c437c167f923f422528aee73b5e70e5726914197d2dec7f210a84ae49e8498a7::" providerId="AD" clId="Web-{46B59B1E-7099-BE76-F539-CA3DCFB5CEFC}" dt="2022-04-04T18:35:00.504" v="513" actId="14100"/>
          <ac:spMkLst>
            <pc:docMk/>
            <pc:sldMk cId="1695560817" sldId="366"/>
            <ac:spMk id="69" creationId="{B1A4F7C5-107F-3C3D-C4CD-8E8C5421EDAC}"/>
          </ac:spMkLst>
        </pc:spChg>
        <pc:spChg chg="add mod">
          <ac:chgData name="Guest User" userId="S::urn:spo:anon#c437c167f923f422528aee73b5e70e5726914197d2dec7f210a84ae49e8498a7::" providerId="AD" clId="Web-{46B59B1E-7099-BE76-F539-CA3DCFB5CEFC}" dt="2022-04-04T18:37:27.069" v="536" actId="14100"/>
          <ac:spMkLst>
            <pc:docMk/>
            <pc:sldMk cId="1695560817" sldId="366"/>
            <ac:spMk id="71" creationId="{E709CA53-DC94-ADE2-98AA-FECD57D89F46}"/>
          </ac:spMkLst>
        </pc:spChg>
        <pc:spChg chg="add del mod">
          <ac:chgData name="Guest User" userId="S::urn:spo:anon#c437c167f923f422528aee73b5e70e5726914197d2dec7f210a84ae49e8498a7::" providerId="AD" clId="Web-{46B59B1E-7099-BE76-F539-CA3DCFB5CEFC}" dt="2022-04-04T18:35:00.238" v="501" actId="14100"/>
          <ac:spMkLst>
            <pc:docMk/>
            <pc:sldMk cId="1695560817" sldId="366"/>
            <ac:spMk id="72" creationId="{2076A5C8-D785-DF79-4D6A-C1A4C3D4A83F}"/>
          </ac:spMkLst>
        </pc:spChg>
        <pc:spChg chg="mod">
          <ac:chgData name="Guest User" userId="S::urn:spo:anon#c437c167f923f422528aee73b5e70e5726914197d2dec7f210a84ae49e8498a7::" providerId="AD" clId="Web-{46B59B1E-7099-BE76-F539-CA3DCFB5CEFC}" dt="2022-04-04T18:35:19.676" v="518" actId="1076"/>
          <ac:spMkLst>
            <pc:docMk/>
            <pc:sldMk cId="1695560817" sldId="366"/>
            <ac:spMk id="78" creationId="{85AA2B18-4964-80D8-597C-B2C0E4AC1A9F}"/>
          </ac:spMkLst>
        </pc:spChg>
        <pc:spChg chg="mod">
          <ac:chgData name="Guest User" userId="S::urn:spo:anon#c437c167f923f422528aee73b5e70e5726914197d2dec7f210a84ae49e8498a7::" providerId="AD" clId="Web-{46B59B1E-7099-BE76-F539-CA3DCFB5CEFC}" dt="2022-04-04T18:36:06.161" v="534" actId="1076"/>
          <ac:spMkLst>
            <pc:docMk/>
            <pc:sldMk cId="1695560817" sldId="366"/>
            <ac:spMk id="82" creationId="{80579DE7-72B2-533E-1105-2A45C4F95512}"/>
          </ac:spMkLst>
        </pc:spChg>
        <pc:spChg chg="mod">
          <ac:chgData name="Guest User" userId="S::urn:spo:anon#c437c167f923f422528aee73b5e70e5726914197d2dec7f210a84ae49e8498a7::" providerId="AD" clId="Web-{46B59B1E-7099-BE76-F539-CA3DCFB5CEFC}" dt="2022-04-04T18:09:10.687" v="188" actId="1076"/>
          <ac:spMkLst>
            <pc:docMk/>
            <pc:sldMk cId="1695560817" sldId="366"/>
            <ac:spMk id="144" creationId="{B58147B5-8D15-0CDB-3D97-316282865257}"/>
          </ac:spMkLst>
        </pc:spChg>
        <pc:spChg chg="mod">
          <ac:chgData name="Guest User" userId="S::urn:spo:anon#c437c167f923f422528aee73b5e70e5726914197d2dec7f210a84ae49e8498a7::" providerId="AD" clId="Web-{46B59B1E-7099-BE76-F539-CA3DCFB5CEFC}" dt="2022-04-04T18:09:10.702" v="189" actId="1076"/>
          <ac:spMkLst>
            <pc:docMk/>
            <pc:sldMk cId="1695560817" sldId="366"/>
            <ac:spMk id="152" creationId="{D045B593-F7C4-E5A1-A0EE-5FD358E7AB98}"/>
          </ac:spMkLst>
        </pc:spChg>
        <pc:spChg chg="mod">
          <ac:chgData name="Guest User" userId="S::urn:spo:anon#c437c167f923f422528aee73b5e70e5726914197d2dec7f210a84ae49e8498a7::" providerId="AD" clId="Web-{46B59B1E-7099-BE76-F539-CA3DCFB5CEFC}" dt="2022-04-04T18:09:10.734" v="190" actId="1076"/>
          <ac:spMkLst>
            <pc:docMk/>
            <pc:sldMk cId="1695560817" sldId="366"/>
            <ac:spMk id="154" creationId="{78A581DC-04CB-AB07-CF99-5807E41BC636}"/>
          </ac:spMkLst>
        </pc:spChg>
        <pc:spChg chg="mod">
          <ac:chgData name="Guest User" userId="S::urn:spo:anon#c437c167f923f422528aee73b5e70e5726914197d2dec7f210a84ae49e8498a7::" providerId="AD" clId="Web-{46B59B1E-7099-BE76-F539-CA3DCFB5CEFC}" dt="2022-04-04T18:09:10.749" v="191" actId="1076"/>
          <ac:spMkLst>
            <pc:docMk/>
            <pc:sldMk cId="1695560817" sldId="366"/>
            <ac:spMk id="160" creationId="{1B0BBF1C-E120-F159-D550-2E7E2D34401F}"/>
          </ac:spMkLst>
        </pc:spChg>
        <pc:grpChg chg="add mod">
          <ac:chgData name="Guest User" userId="S::urn:spo:anon#c437c167f923f422528aee73b5e70e5726914197d2dec7f210a84ae49e8498a7::" providerId="AD" clId="Web-{46B59B1E-7099-BE76-F539-CA3DCFB5CEFC}" dt="2022-04-04T18:09:10.968" v="201" actId="1076"/>
          <ac:grpSpMkLst>
            <pc:docMk/>
            <pc:sldMk cId="1695560817" sldId="366"/>
            <ac:grpSpMk id="3" creationId="{84A101B9-54A8-0DEF-7134-74702582A0A6}"/>
          </ac:grpSpMkLst>
        </pc:grpChg>
        <pc:picChg chg="mod">
          <ac:chgData name="Guest User" userId="S::urn:spo:anon#c437c167f923f422528aee73b5e70e5726914197d2dec7f210a84ae49e8498a7::" providerId="AD" clId="Web-{46B59B1E-7099-BE76-F539-CA3DCFB5CEFC}" dt="2022-04-04T18:09:10.390" v="173" actId="1076"/>
          <ac:picMkLst>
            <pc:docMk/>
            <pc:sldMk cId="1695560817" sldId="366"/>
            <ac:picMk id="48" creationId="{247921FD-8C4D-E554-1B1D-CACD41AF4EB2}"/>
          </ac:picMkLst>
        </pc:picChg>
        <pc:picChg chg="mod">
          <ac:chgData name="Guest User" userId="S::urn:spo:anon#c437c167f923f422528aee73b5e70e5726914197d2dec7f210a84ae49e8498a7::" providerId="AD" clId="Web-{46B59B1E-7099-BE76-F539-CA3DCFB5CEFC}" dt="2022-04-04T18:09:10.405" v="174" actId="1076"/>
          <ac:picMkLst>
            <pc:docMk/>
            <pc:sldMk cId="1695560817" sldId="366"/>
            <ac:picMk id="50" creationId="{085AC538-8759-5885-5CFF-B2873A0A6DEE}"/>
          </ac:picMkLst>
        </pc:picChg>
        <pc:picChg chg="mod">
          <ac:chgData name="Guest User" userId="S::urn:spo:anon#c437c167f923f422528aee73b5e70e5726914197d2dec7f210a84ae49e8498a7::" providerId="AD" clId="Web-{46B59B1E-7099-BE76-F539-CA3DCFB5CEFC}" dt="2022-04-04T18:09:10.655" v="187" actId="1076"/>
          <ac:picMkLst>
            <pc:docMk/>
            <pc:sldMk cId="1695560817" sldId="366"/>
            <ac:picMk id="100" creationId="{7C55F817-7127-B9AD-8941-666334782182}"/>
          </ac:picMkLst>
        </pc:picChg>
        <pc:cxnChg chg="del">
          <ac:chgData name="Guest User" userId="S::urn:spo:anon#c437c167f923f422528aee73b5e70e5726914197d2dec7f210a84ae49e8498a7::" providerId="AD" clId="Web-{46B59B1E-7099-BE76-F539-CA3DCFB5CEFC}" dt="2022-04-04T18:02:07.552" v="102"/>
          <ac:cxnSpMkLst>
            <pc:docMk/>
            <pc:sldMk cId="1695560817" sldId="366"/>
            <ac:cxnSpMk id="6" creationId="{93B44884-CA6C-5AA3-291A-DEE7CBAC1036}"/>
          </ac:cxnSpMkLst>
        </pc:cxnChg>
        <pc:cxnChg chg="mod">
          <ac:chgData name="Guest User" userId="S::urn:spo:anon#c437c167f923f422528aee73b5e70e5726914197d2dec7f210a84ae49e8498a7::" providerId="AD" clId="Web-{46B59B1E-7099-BE76-F539-CA3DCFB5CEFC}" dt="2022-04-04T18:11:01.283" v="222" actId="1076"/>
          <ac:cxnSpMkLst>
            <pc:docMk/>
            <pc:sldMk cId="1695560817" sldId="366"/>
            <ac:cxnSpMk id="52" creationId="{4B6288B0-2F92-BABF-949C-D41DF2E2967F}"/>
          </ac:cxnSpMkLst>
        </pc:cxnChg>
        <pc:cxnChg chg="mod">
          <ac:chgData name="Guest User" userId="S::urn:spo:anon#c437c167f923f422528aee73b5e70e5726914197d2dec7f210a84ae49e8498a7::" providerId="AD" clId="Web-{46B59B1E-7099-BE76-F539-CA3DCFB5CEFC}" dt="2022-04-04T18:09:10.437" v="176" actId="1076"/>
          <ac:cxnSpMkLst>
            <pc:docMk/>
            <pc:sldMk cId="1695560817" sldId="366"/>
            <ac:cxnSpMk id="54" creationId="{44C4834B-3B18-7CC0-FDEA-E47378DAF764}"/>
          </ac:cxnSpMkLst>
        </pc:cxnChg>
        <pc:cxnChg chg="mod">
          <ac:chgData name="Guest User" userId="S::urn:spo:anon#c437c167f923f422528aee73b5e70e5726914197d2dec7f210a84ae49e8498a7::" providerId="AD" clId="Web-{46B59B1E-7099-BE76-F539-CA3DCFB5CEFC}" dt="2022-04-04T18:11:01.267" v="221" actId="1076"/>
          <ac:cxnSpMkLst>
            <pc:docMk/>
            <pc:sldMk cId="1695560817" sldId="366"/>
            <ac:cxnSpMk id="56" creationId="{62555E59-04A5-FFF1-EE9E-8961465F1E1D}"/>
          </ac:cxnSpMkLst>
        </pc:cxnChg>
        <pc:cxnChg chg="mod">
          <ac:chgData name="Guest User" userId="S::urn:spo:anon#c437c167f923f422528aee73b5e70e5726914197d2dec7f210a84ae49e8498a7::" providerId="AD" clId="Web-{46B59B1E-7099-BE76-F539-CA3DCFB5CEFC}" dt="2022-04-04T18:09:10.468" v="178" actId="1076"/>
          <ac:cxnSpMkLst>
            <pc:docMk/>
            <pc:sldMk cId="1695560817" sldId="366"/>
            <ac:cxnSpMk id="58" creationId="{535ECF66-8691-DE21-C4CE-662C1B8607F9}"/>
          </ac:cxnSpMkLst>
        </pc:cxnChg>
        <pc:cxnChg chg="mod">
          <ac:chgData name="Guest User" userId="S::urn:spo:anon#c437c167f923f422528aee73b5e70e5726914197d2dec7f210a84ae49e8498a7::" providerId="AD" clId="Web-{46B59B1E-7099-BE76-F539-CA3DCFB5CEFC}" dt="2022-04-04T18:09:10.484" v="179" actId="1076"/>
          <ac:cxnSpMkLst>
            <pc:docMk/>
            <pc:sldMk cId="1695560817" sldId="366"/>
            <ac:cxnSpMk id="60" creationId="{02BE5020-33F7-66E4-4A1C-71874FD6410E}"/>
          </ac:cxnSpMkLst>
        </pc:cxnChg>
        <pc:cxnChg chg="mod">
          <ac:chgData name="Guest User" userId="S::urn:spo:anon#c437c167f923f422528aee73b5e70e5726914197d2dec7f210a84ae49e8498a7::" providerId="AD" clId="Web-{46B59B1E-7099-BE76-F539-CA3DCFB5CEFC}" dt="2022-04-04T18:09:10.499" v="180" actId="1076"/>
          <ac:cxnSpMkLst>
            <pc:docMk/>
            <pc:sldMk cId="1695560817" sldId="366"/>
            <ac:cxnSpMk id="62" creationId="{63E5A2FA-D102-2F1F-0789-DF98497CD653}"/>
          </ac:cxnSpMkLst>
        </pc:cxnChg>
        <pc:cxnChg chg="del">
          <ac:chgData name="Guest User" userId="S::urn:spo:anon#c437c167f923f422528aee73b5e70e5726914197d2dec7f210a84ae49e8498a7::" providerId="AD" clId="Web-{46B59B1E-7099-BE76-F539-CA3DCFB5CEFC}" dt="2022-04-04T18:02:07.552" v="101"/>
          <ac:cxnSpMkLst>
            <pc:docMk/>
            <pc:sldMk cId="1695560817" sldId="366"/>
            <ac:cxnSpMk id="64" creationId="{6F5954C0-39F3-16CC-1C37-0EDB244C7946}"/>
          </ac:cxnSpMkLst>
        </pc:cxnChg>
        <pc:cxnChg chg="del">
          <ac:chgData name="Guest User" userId="S::urn:spo:anon#c437c167f923f422528aee73b5e70e5726914197d2dec7f210a84ae49e8498a7::" providerId="AD" clId="Web-{46B59B1E-7099-BE76-F539-CA3DCFB5CEFC}" dt="2022-04-04T18:02:07.552" v="100"/>
          <ac:cxnSpMkLst>
            <pc:docMk/>
            <pc:sldMk cId="1695560817" sldId="366"/>
            <ac:cxnSpMk id="66" creationId="{96C67065-8CD6-E1D8-2668-060B4C39DAC4}"/>
          </ac:cxnSpMkLst>
        </pc:cxnChg>
        <pc:cxnChg chg="mod">
          <ac:chgData name="Guest User" userId="S::urn:spo:anon#c437c167f923f422528aee73b5e70e5726914197d2dec7f210a84ae49e8498a7::" providerId="AD" clId="Web-{46B59B1E-7099-BE76-F539-CA3DCFB5CEFC}" dt="2022-04-04T18:10:35.032" v="219" actId="1076"/>
          <ac:cxnSpMkLst>
            <pc:docMk/>
            <pc:sldMk cId="1695560817" sldId="366"/>
            <ac:cxnSpMk id="70" creationId="{36AB945C-B067-EFEB-F8C0-06799B81FEEF}"/>
          </ac:cxnSpMkLst>
        </pc:cxnChg>
        <pc:cxnChg chg="mod">
          <ac:chgData name="Guest User" userId="S::urn:spo:anon#c437c167f923f422528aee73b5e70e5726914197d2dec7f210a84ae49e8498a7::" providerId="AD" clId="Web-{46B59B1E-7099-BE76-F539-CA3DCFB5CEFC}" dt="2022-04-04T18:09:10.609" v="185" actId="1076"/>
          <ac:cxnSpMkLst>
            <pc:docMk/>
            <pc:sldMk cId="1695560817" sldId="366"/>
            <ac:cxnSpMk id="92" creationId="{95332B53-DA5E-B171-E911-5630D8D71783}"/>
          </ac:cxnSpMkLst>
        </pc:cxnChg>
        <pc:cxnChg chg="mod">
          <ac:chgData name="Guest User" userId="S::urn:spo:anon#c437c167f923f422528aee73b5e70e5726914197d2dec7f210a84ae49e8498a7::" providerId="AD" clId="Web-{46B59B1E-7099-BE76-F539-CA3DCFB5CEFC}" dt="2022-04-04T18:09:10.624" v="186" actId="1076"/>
          <ac:cxnSpMkLst>
            <pc:docMk/>
            <pc:sldMk cId="1695560817" sldId="366"/>
            <ac:cxnSpMk id="94" creationId="{60E77512-710D-3C80-18A9-A2DDB839C5F2}"/>
          </ac:cxnSpMkLst>
        </pc:cxnChg>
        <pc:cxnChg chg="del">
          <ac:chgData name="Guest User" userId="S::urn:spo:anon#c437c167f923f422528aee73b5e70e5726914197d2dec7f210a84ae49e8498a7::" providerId="AD" clId="Web-{46B59B1E-7099-BE76-F539-CA3DCFB5CEFC}" dt="2022-04-04T18:02:19.834" v="103"/>
          <ac:cxnSpMkLst>
            <pc:docMk/>
            <pc:sldMk cId="1695560817" sldId="366"/>
            <ac:cxnSpMk id="96" creationId="{370D1839-E491-D94C-A901-6D494DA2FE09}"/>
          </ac:cxnSpMkLst>
        </pc:cxnChg>
        <pc:cxnChg chg="del">
          <ac:chgData name="Guest User" userId="S::urn:spo:anon#c437c167f923f422528aee73b5e70e5726914197d2dec7f210a84ae49e8498a7::" providerId="AD" clId="Web-{46B59B1E-7099-BE76-F539-CA3DCFB5CEFC}" dt="2022-04-04T18:02:38.584" v="106"/>
          <ac:cxnSpMkLst>
            <pc:docMk/>
            <pc:sldMk cId="1695560817" sldId="366"/>
            <ac:cxnSpMk id="98" creationId="{85C2030F-99FB-114D-1D61-89942ADE6DD2}"/>
          </ac:cxnSpMkLst>
        </pc:cxnChg>
        <pc:cxnChg chg="del">
          <ac:chgData name="Guest User" userId="S::urn:spo:anon#c437c167f923f422528aee73b5e70e5726914197d2dec7f210a84ae49e8498a7::" providerId="AD" clId="Web-{46B59B1E-7099-BE76-F539-CA3DCFB5CEFC}" dt="2022-04-04T18:02:07.552" v="99"/>
          <ac:cxnSpMkLst>
            <pc:docMk/>
            <pc:sldMk cId="1695560817" sldId="366"/>
            <ac:cxnSpMk id="146" creationId="{4D364F69-3564-41A7-3EFD-B7D27DFC2072}"/>
          </ac:cxnSpMkLst>
        </pc:cxnChg>
        <pc:cxnChg chg="del">
          <ac:chgData name="Guest User" userId="S::urn:spo:anon#c437c167f923f422528aee73b5e70e5726914197d2dec7f210a84ae49e8498a7::" providerId="AD" clId="Web-{46B59B1E-7099-BE76-F539-CA3DCFB5CEFC}" dt="2022-04-04T18:02:07.552" v="98"/>
          <ac:cxnSpMkLst>
            <pc:docMk/>
            <pc:sldMk cId="1695560817" sldId="366"/>
            <ac:cxnSpMk id="148" creationId="{B3DF6322-9A6F-5678-45E8-CA5C01B8B47E}"/>
          </ac:cxnSpMkLst>
        </pc:cxnChg>
        <pc:cxnChg chg="del">
          <ac:chgData name="Guest User" userId="S::urn:spo:anon#c437c167f923f422528aee73b5e70e5726914197d2dec7f210a84ae49e8498a7::" providerId="AD" clId="Web-{46B59B1E-7099-BE76-F539-CA3DCFB5CEFC}" dt="2022-04-04T18:02:07.552" v="97"/>
          <ac:cxnSpMkLst>
            <pc:docMk/>
            <pc:sldMk cId="1695560817" sldId="366"/>
            <ac:cxnSpMk id="150" creationId="{D49C1234-00B4-FA66-7F6F-4296EED6C78B}"/>
          </ac:cxnSpMkLst>
        </pc:cxnChg>
        <pc:cxnChg chg="del">
          <ac:chgData name="Guest User" userId="S::urn:spo:anon#c437c167f923f422528aee73b5e70e5726914197d2dec7f210a84ae49e8498a7::" providerId="AD" clId="Web-{46B59B1E-7099-BE76-F539-CA3DCFB5CEFC}" dt="2022-04-04T18:02:07.552" v="96"/>
          <ac:cxnSpMkLst>
            <pc:docMk/>
            <pc:sldMk cId="1695560817" sldId="366"/>
            <ac:cxnSpMk id="156" creationId="{CAA265DC-3C96-67B2-F5B5-32638EBD5DCB}"/>
          </ac:cxnSpMkLst>
        </pc:cxnChg>
        <pc:cxnChg chg="del">
          <ac:chgData name="Guest User" userId="S::urn:spo:anon#c437c167f923f422528aee73b5e70e5726914197d2dec7f210a84ae49e8498a7::" providerId="AD" clId="Web-{46B59B1E-7099-BE76-F539-CA3DCFB5CEFC}" dt="2022-04-04T18:02:07.552" v="95"/>
          <ac:cxnSpMkLst>
            <pc:docMk/>
            <pc:sldMk cId="1695560817" sldId="366"/>
            <ac:cxnSpMk id="158" creationId="{296D08FB-F752-2463-4CD2-5BD82CD678B1}"/>
          </ac:cxnSpMkLst>
        </pc:cxnChg>
        <pc:cxnChg chg="del">
          <ac:chgData name="Guest User" userId="S::urn:spo:anon#c437c167f923f422528aee73b5e70e5726914197d2dec7f210a84ae49e8498a7::" providerId="AD" clId="Web-{46B59B1E-7099-BE76-F539-CA3DCFB5CEFC}" dt="2022-04-04T18:02:07.552" v="94"/>
          <ac:cxnSpMkLst>
            <pc:docMk/>
            <pc:sldMk cId="1695560817" sldId="366"/>
            <ac:cxnSpMk id="162" creationId="{349F29BE-D19B-F111-BDED-443D0EEE482C}"/>
          </ac:cxnSpMkLst>
        </pc:cxnChg>
        <pc:cxnChg chg="mod">
          <ac:chgData name="Guest User" userId="S::urn:spo:anon#c437c167f923f422528aee73b5e70e5726914197d2dec7f210a84ae49e8498a7::" providerId="AD" clId="Web-{46B59B1E-7099-BE76-F539-CA3DCFB5CEFC}" dt="2022-04-04T18:10:35.032" v="218" actId="1076"/>
          <ac:cxnSpMkLst>
            <pc:docMk/>
            <pc:sldMk cId="1695560817" sldId="366"/>
            <ac:cxnSpMk id="163" creationId="{239D5AB9-9EAB-07FA-6DAA-29766725F05B}"/>
          </ac:cxnSpMkLst>
        </pc:cxnChg>
      </pc:sldChg>
      <pc:sldChg chg="addSp delSp modSp">
        <pc:chgData name="Guest User" userId="S::urn:spo:anon#c437c167f923f422528aee73b5e70e5726914197d2dec7f210a84ae49e8498a7::" providerId="AD" clId="Web-{46B59B1E-7099-BE76-F539-CA3DCFB5CEFC}" dt="2022-04-04T18:58:44.958" v="810" actId="20577"/>
        <pc:sldMkLst>
          <pc:docMk/>
          <pc:sldMk cId="3762238417" sldId="367"/>
        </pc:sldMkLst>
        <pc:spChg chg="mod">
          <ac:chgData name="Guest User" userId="S::urn:spo:anon#c437c167f923f422528aee73b5e70e5726914197d2dec7f210a84ae49e8498a7::" providerId="AD" clId="Web-{46B59B1E-7099-BE76-F539-CA3DCFB5CEFC}" dt="2022-04-04T18:57:22.159" v="795" actId="14100"/>
          <ac:spMkLst>
            <pc:docMk/>
            <pc:sldMk cId="3762238417" sldId="367"/>
            <ac:spMk id="2" creationId="{AB52A157-2CB8-6DCB-8D3B-00713BF25DCA}"/>
          </ac:spMkLst>
        </pc:spChg>
        <pc:spChg chg="mod">
          <ac:chgData name="Guest User" userId="S::urn:spo:anon#c437c167f923f422528aee73b5e70e5726914197d2dec7f210a84ae49e8498a7::" providerId="AD" clId="Web-{46B59B1E-7099-BE76-F539-CA3DCFB5CEFC}" dt="2022-04-04T18:58:39.396" v="809" actId="20577"/>
          <ac:spMkLst>
            <pc:docMk/>
            <pc:sldMk cId="3762238417" sldId="367"/>
            <ac:spMk id="3" creationId="{346B9D98-5C00-250F-2E85-76FD3A920D22}"/>
          </ac:spMkLst>
        </pc:spChg>
        <pc:spChg chg="mod">
          <ac:chgData name="Guest User" userId="S::urn:spo:anon#c437c167f923f422528aee73b5e70e5726914197d2dec7f210a84ae49e8498a7::" providerId="AD" clId="Web-{46B59B1E-7099-BE76-F539-CA3DCFB5CEFC}" dt="2022-04-04T18:58:44.958" v="810" actId="20577"/>
          <ac:spMkLst>
            <pc:docMk/>
            <pc:sldMk cId="3762238417" sldId="367"/>
            <ac:spMk id="5" creationId="{36D64229-262E-4A6E-9C18-00F422DCB439}"/>
          </ac:spMkLst>
        </pc:spChg>
        <pc:spChg chg="del">
          <ac:chgData name="Guest User" userId="S::urn:spo:anon#c437c167f923f422528aee73b5e70e5726914197d2dec7f210a84ae49e8498a7::" providerId="AD" clId="Web-{46B59B1E-7099-BE76-F539-CA3DCFB5CEFC}" dt="2022-04-04T18:44:10.766" v="568"/>
          <ac:spMkLst>
            <pc:docMk/>
            <pc:sldMk cId="3762238417" sldId="367"/>
            <ac:spMk id="9" creationId="{A559BC09-4387-488E-85BC-CBE75B1CE17C}"/>
          </ac:spMkLst>
        </pc:spChg>
        <pc:spChg chg="add mod">
          <ac:chgData name="Guest User" userId="S::urn:spo:anon#c437c167f923f422528aee73b5e70e5726914197d2dec7f210a84ae49e8498a7::" providerId="AD" clId="Web-{46B59B1E-7099-BE76-F539-CA3DCFB5CEFC}" dt="2022-04-04T18:58:29.755" v="807" actId="1076"/>
          <ac:spMkLst>
            <pc:docMk/>
            <pc:sldMk cId="3762238417" sldId="367"/>
            <ac:spMk id="11" creationId="{CBD3480E-29E4-CF16-7FAC-4FDE84110F7D}"/>
          </ac:spMkLst>
        </pc:spChg>
      </pc:sldChg>
      <pc:sldChg chg="addSp modSp">
        <pc:chgData name="Guest User" userId="S::urn:spo:anon#c437c167f923f422528aee73b5e70e5726914197d2dec7f210a84ae49e8498a7::" providerId="AD" clId="Web-{46B59B1E-7099-BE76-F539-CA3DCFB5CEFC}" dt="2022-04-04T19:05:35.905" v="871"/>
        <pc:sldMkLst>
          <pc:docMk/>
          <pc:sldMk cId="3514561185" sldId="374"/>
        </pc:sldMkLst>
        <pc:spChg chg="add mod">
          <ac:chgData name="Guest User" userId="S::urn:spo:anon#c437c167f923f422528aee73b5e70e5726914197d2dec7f210a84ae49e8498a7::" providerId="AD" clId="Web-{46B59B1E-7099-BE76-F539-CA3DCFB5CEFC}" dt="2022-04-04T19:05:32.171" v="869" actId="1076"/>
          <ac:spMkLst>
            <pc:docMk/>
            <pc:sldMk cId="3514561185" sldId="374"/>
            <ac:spMk id="2" creationId="{71601D73-6075-4594-3641-75266AC8AC50}"/>
          </ac:spMkLst>
        </pc:spChg>
        <pc:spChg chg="mod">
          <ac:chgData name="Guest User" userId="S::urn:spo:anon#c437c167f923f422528aee73b5e70e5726914197d2dec7f210a84ae49e8498a7::" providerId="AD" clId="Web-{46B59B1E-7099-BE76-F539-CA3DCFB5CEFC}" dt="2022-04-04T19:05:32.217" v="870" actId="14100"/>
          <ac:spMkLst>
            <pc:docMk/>
            <pc:sldMk cId="3514561185" sldId="374"/>
            <ac:spMk id="11" creationId="{A9B97C9C-0C93-045F-4501-F39E80FF554F}"/>
          </ac:spMkLst>
        </pc:spChg>
        <pc:spChg chg="mod">
          <ac:chgData name="Guest User" userId="S::urn:spo:anon#c437c167f923f422528aee73b5e70e5726914197d2dec7f210a84ae49e8498a7::" providerId="AD" clId="Web-{46B59B1E-7099-BE76-F539-CA3DCFB5CEFC}" dt="2022-04-04T19:05:35.905" v="871"/>
          <ac:spMkLst>
            <pc:docMk/>
            <pc:sldMk cId="3514561185" sldId="374"/>
            <ac:spMk id="331" creationId="{00000000-0000-0000-0000-000000000000}"/>
          </ac:spMkLst>
        </pc:spChg>
        <pc:spChg chg="mod">
          <ac:chgData name="Guest User" userId="S::urn:spo:anon#c437c167f923f422528aee73b5e70e5726914197d2dec7f210a84ae49e8498a7::" providerId="AD" clId="Web-{46B59B1E-7099-BE76-F539-CA3DCFB5CEFC}" dt="2022-04-04T18:28:51.214" v="469" actId="14100"/>
          <ac:spMkLst>
            <pc:docMk/>
            <pc:sldMk cId="3514561185" sldId="374"/>
            <ac:spMk id="333" creationId="{00000000-0000-0000-0000-000000000000}"/>
          </ac:spMkLst>
        </pc:spChg>
      </pc:sldChg>
      <pc:sldChg chg="modSp">
        <pc:chgData name="Guest User" userId="S::urn:spo:anon#c437c167f923f422528aee73b5e70e5726914197d2dec7f210a84ae49e8498a7::" providerId="AD" clId="Web-{46B59B1E-7099-BE76-F539-CA3DCFB5CEFC}" dt="2022-04-04T17:47:32.251" v="93" actId="20577"/>
        <pc:sldMkLst>
          <pc:docMk/>
          <pc:sldMk cId="604654217" sldId="375"/>
        </pc:sldMkLst>
        <pc:spChg chg="mod">
          <ac:chgData name="Guest User" userId="S::urn:spo:anon#c437c167f923f422528aee73b5e70e5726914197d2dec7f210a84ae49e8498a7::" providerId="AD" clId="Web-{46B59B1E-7099-BE76-F539-CA3DCFB5CEFC}" dt="2022-04-04T17:47:19.625" v="85" actId="20577"/>
          <ac:spMkLst>
            <pc:docMk/>
            <pc:sldMk cId="604654217" sldId="375"/>
            <ac:spMk id="7" creationId="{8D8EC8C6-E4D1-4DBB-983D-FE47EF3371A4}"/>
          </ac:spMkLst>
        </pc:spChg>
        <pc:spChg chg="mod">
          <ac:chgData name="Guest User" userId="S::urn:spo:anon#c437c167f923f422528aee73b5e70e5726914197d2dec7f210a84ae49e8498a7::" providerId="AD" clId="Web-{46B59B1E-7099-BE76-F539-CA3DCFB5CEFC}" dt="2022-04-04T17:47:32.251" v="93" actId="20577"/>
          <ac:spMkLst>
            <pc:docMk/>
            <pc:sldMk cId="604654217" sldId="375"/>
            <ac:spMk id="8" creationId="{0C428FE0-CEA6-4B06-818A-B15A33773397}"/>
          </ac:spMkLst>
        </pc:spChg>
      </pc:sldChg>
    </pc:docChg>
  </pc:docChgLst>
  <pc:docChgLst>
    <pc:chgData name="Guest User" userId="S::urn:spo:anon#bc72e6c931b442e1b83d9d7baffb28dcb7bee849e2d9a5e2bb7cc25170a1c113::" providerId="AD" clId="Web-{6A609E6D-3116-3E16-F414-426718992CAD}"/>
    <pc:docChg chg="modSld">
      <pc:chgData name="Guest User" userId="S::urn:spo:anon#bc72e6c931b442e1b83d9d7baffb28dcb7bee849e2d9a5e2bb7cc25170a1c113::" providerId="AD" clId="Web-{6A609E6D-3116-3E16-F414-426718992CAD}" dt="2022-03-21T23:40:35.274" v="207"/>
      <pc:docMkLst>
        <pc:docMk/>
      </pc:docMkLst>
      <pc:sldChg chg="addSp modSp">
        <pc:chgData name="Guest User" userId="S::urn:spo:anon#bc72e6c931b442e1b83d9d7baffb28dcb7bee849e2d9a5e2bb7cc25170a1c113::" providerId="AD" clId="Web-{6A609E6D-3116-3E16-F414-426718992CAD}" dt="2022-03-21T23:31:36.198" v="121" actId="1076"/>
        <pc:sldMkLst>
          <pc:docMk/>
          <pc:sldMk cId="0" sldId="257"/>
        </pc:sldMkLst>
        <pc:spChg chg="mod">
          <ac:chgData name="Guest User" userId="S::urn:spo:anon#bc72e6c931b442e1b83d9d7baffb28dcb7bee849e2d9a5e2bb7cc25170a1c113::" providerId="AD" clId="Web-{6A609E6D-3116-3E16-F414-426718992CAD}" dt="2022-03-21T23:29:34.316" v="85" actId="14100"/>
          <ac:spMkLst>
            <pc:docMk/>
            <pc:sldMk cId="0" sldId="257"/>
            <ac:spMk id="3" creationId="{39609F45-5196-405D-A25B-0B3CF8FD192A}"/>
          </ac:spMkLst>
        </pc:spChg>
        <pc:spChg chg="mod">
          <ac:chgData name="Guest User" userId="S::urn:spo:anon#bc72e6c931b442e1b83d9d7baffb28dcb7bee849e2d9a5e2bb7cc25170a1c113::" providerId="AD" clId="Web-{6A609E6D-3116-3E16-F414-426718992CAD}" dt="2022-03-21T23:29:02.893" v="79" actId="14100"/>
          <ac:spMkLst>
            <pc:docMk/>
            <pc:sldMk cId="0" sldId="257"/>
            <ac:spMk id="4" creationId="{8570B07F-C2EE-4D23-B889-B458FC8A4A4A}"/>
          </ac:spMkLst>
        </pc:spChg>
        <pc:spChg chg="mod">
          <ac:chgData name="Guest User" userId="S::urn:spo:anon#bc72e6c931b442e1b83d9d7baffb28dcb7bee849e2d9a5e2bb7cc25170a1c113::" providerId="AD" clId="Web-{6A609E6D-3116-3E16-F414-426718992CAD}" dt="2022-03-21T23:29:11.534" v="81" actId="1076"/>
          <ac:spMkLst>
            <pc:docMk/>
            <pc:sldMk cId="0" sldId="257"/>
            <ac:spMk id="8" creationId="{658FBB6F-FDD7-4B3F-BBC3-FB5A47C4D7BD}"/>
          </ac:spMkLst>
        </pc:spChg>
        <pc:spChg chg="mod">
          <ac:chgData name="Guest User" userId="S::urn:spo:anon#bc72e6c931b442e1b83d9d7baffb28dcb7bee849e2d9a5e2bb7cc25170a1c113::" providerId="AD" clId="Web-{6A609E6D-3116-3E16-F414-426718992CAD}" dt="2022-03-21T23:28:23.672" v="65" actId="1076"/>
          <ac:spMkLst>
            <pc:docMk/>
            <pc:sldMk cId="0" sldId="257"/>
            <ac:spMk id="44" creationId="{28E8AA2B-7E30-48CF-86E4-5464130C7279}"/>
          </ac:spMkLst>
        </pc:spChg>
        <pc:spChg chg="mod">
          <ac:chgData name="Guest User" userId="S::urn:spo:anon#bc72e6c931b442e1b83d9d7baffb28dcb7bee849e2d9a5e2bb7cc25170a1c113::" providerId="AD" clId="Web-{6A609E6D-3116-3E16-F414-426718992CAD}" dt="2022-03-21T23:30:05.005" v="92" actId="1076"/>
          <ac:spMkLst>
            <pc:docMk/>
            <pc:sldMk cId="0" sldId="257"/>
            <ac:spMk id="47" creationId="{C5E20432-F495-4AE8-8931-143A4C1D3844}"/>
          </ac:spMkLst>
        </pc:spChg>
        <pc:spChg chg="mod">
          <ac:chgData name="Guest User" userId="S::urn:spo:anon#bc72e6c931b442e1b83d9d7baffb28dcb7bee849e2d9a5e2bb7cc25170a1c113::" providerId="AD" clId="Web-{6A609E6D-3116-3E16-F414-426718992CAD}" dt="2022-03-21T23:28:36.704" v="72" actId="14100"/>
          <ac:spMkLst>
            <pc:docMk/>
            <pc:sldMk cId="0" sldId="257"/>
            <ac:spMk id="50" creationId="{7EADC094-A032-4A82-86F5-C217CDFD7303}"/>
          </ac:spMkLst>
        </pc:spChg>
        <pc:spChg chg="mod">
          <ac:chgData name="Guest User" userId="S::urn:spo:anon#bc72e6c931b442e1b83d9d7baffb28dcb7bee849e2d9a5e2bb7cc25170a1c113::" providerId="AD" clId="Web-{6A609E6D-3116-3E16-F414-426718992CAD}" dt="2022-03-21T23:31:19.400" v="113" actId="1076"/>
          <ac:spMkLst>
            <pc:docMk/>
            <pc:sldMk cId="0" sldId="257"/>
            <ac:spMk id="52" creationId="{6C9D2FE4-3EA2-442C-939B-BC72E4710CD2}"/>
          </ac:spMkLst>
        </pc:spChg>
        <pc:spChg chg="mod">
          <ac:chgData name="Guest User" userId="S::urn:spo:anon#bc72e6c931b442e1b83d9d7baffb28dcb7bee849e2d9a5e2bb7cc25170a1c113::" providerId="AD" clId="Web-{6A609E6D-3116-3E16-F414-426718992CAD}" dt="2022-03-21T23:28:02.514" v="20" actId="1076"/>
          <ac:spMkLst>
            <pc:docMk/>
            <pc:sldMk cId="0" sldId="257"/>
            <ac:spMk id="196" creationId="{00000000-0000-0000-0000-000000000000}"/>
          </ac:spMkLst>
        </pc:spChg>
        <pc:spChg chg="mod">
          <ac:chgData name="Guest User" userId="S::urn:spo:anon#bc72e6c931b442e1b83d9d7baffb28dcb7bee849e2d9a5e2bb7cc25170a1c113::" providerId="AD" clId="Web-{6A609E6D-3116-3E16-F414-426718992CAD}" dt="2022-03-21T23:30:09.818" v="94" actId="1076"/>
          <ac:spMkLst>
            <pc:docMk/>
            <pc:sldMk cId="0" sldId="257"/>
            <ac:spMk id="198" creationId="{00000000-0000-0000-0000-000000000000}"/>
          </ac:spMkLst>
        </pc:spChg>
        <pc:spChg chg="mod">
          <ac:chgData name="Guest User" userId="S::urn:spo:anon#bc72e6c931b442e1b83d9d7baffb28dcb7bee849e2d9a5e2bb7cc25170a1c113::" providerId="AD" clId="Web-{6A609E6D-3116-3E16-F414-426718992CAD}" dt="2022-03-21T23:28:23.500" v="58" actId="1076"/>
          <ac:spMkLst>
            <pc:docMk/>
            <pc:sldMk cId="0" sldId="257"/>
            <ac:spMk id="212" creationId="{00000000-0000-0000-0000-000000000000}"/>
          </ac:spMkLst>
        </pc:spChg>
        <pc:spChg chg="mod">
          <ac:chgData name="Guest User" userId="S::urn:spo:anon#bc72e6c931b442e1b83d9d7baffb28dcb7bee849e2d9a5e2bb7cc25170a1c113::" providerId="AD" clId="Web-{6A609E6D-3116-3E16-F414-426718992CAD}" dt="2022-03-21T23:29:56.505" v="89" actId="1076"/>
          <ac:spMkLst>
            <pc:docMk/>
            <pc:sldMk cId="0" sldId="257"/>
            <ac:spMk id="213" creationId="{00000000-0000-0000-0000-000000000000}"/>
          </ac:spMkLst>
        </pc:spChg>
        <pc:spChg chg="mod">
          <ac:chgData name="Guest User" userId="S::urn:spo:anon#bc72e6c931b442e1b83d9d7baffb28dcb7bee849e2d9a5e2bb7cc25170a1c113::" providerId="AD" clId="Web-{6A609E6D-3116-3E16-F414-426718992CAD}" dt="2022-03-21T23:28:23.547" v="60" actId="1076"/>
          <ac:spMkLst>
            <pc:docMk/>
            <pc:sldMk cId="0" sldId="257"/>
            <ac:spMk id="214" creationId="{00000000-0000-0000-0000-000000000000}"/>
          </ac:spMkLst>
        </pc:spChg>
        <pc:spChg chg="mod">
          <ac:chgData name="Guest User" userId="S::urn:spo:anon#bc72e6c931b442e1b83d9d7baffb28dcb7bee849e2d9a5e2bb7cc25170a1c113::" providerId="AD" clId="Web-{6A609E6D-3116-3E16-F414-426718992CAD}" dt="2022-03-21T23:30:53.070" v="103" actId="1076"/>
          <ac:spMkLst>
            <pc:docMk/>
            <pc:sldMk cId="0" sldId="257"/>
            <ac:spMk id="218" creationId="{00000000-0000-0000-0000-000000000000}"/>
          </ac:spMkLst>
        </pc:spChg>
        <pc:spChg chg="mod">
          <ac:chgData name="Guest User" userId="S::urn:spo:anon#bc72e6c931b442e1b83d9d7baffb28dcb7bee849e2d9a5e2bb7cc25170a1c113::" providerId="AD" clId="Web-{6A609E6D-3116-3E16-F414-426718992CAD}" dt="2022-03-21T23:30:57.836" v="105" actId="1076"/>
          <ac:spMkLst>
            <pc:docMk/>
            <pc:sldMk cId="0" sldId="257"/>
            <ac:spMk id="219" creationId="{00000000-0000-0000-0000-000000000000}"/>
          </ac:spMkLst>
        </pc:spChg>
        <pc:spChg chg="mod">
          <ac:chgData name="Guest User" userId="S::urn:spo:anon#bc72e6c931b442e1b83d9d7baffb28dcb7bee849e2d9a5e2bb7cc25170a1c113::" providerId="AD" clId="Web-{6A609E6D-3116-3E16-F414-426718992CAD}" dt="2022-03-21T23:30:55.649" v="104" actId="1076"/>
          <ac:spMkLst>
            <pc:docMk/>
            <pc:sldMk cId="0" sldId="257"/>
            <ac:spMk id="220" creationId="{00000000-0000-0000-0000-000000000000}"/>
          </ac:spMkLst>
        </pc:spChg>
        <pc:spChg chg="mod">
          <ac:chgData name="Guest User" userId="S::urn:spo:anon#bc72e6c931b442e1b83d9d7baffb28dcb7bee849e2d9a5e2bb7cc25170a1c113::" providerId="AD" clId="Web-{6A609E6D-3116-3E16-F414-426718992CAD}" dt="2022-03-21T23:28:23.609" v="62" actId="1076"/>
          <ac:spMkLst>
            <pc:docMk/>
            <pc:sldMk cId="0" sldId="257"/>
            <ac:spMk id="221" creationId="{00000000-0000-0000-0000-000000000000}"/>
          </ac:spMkLst>
        </pc:spChg>
        <pc:spChg chg="mod">
          <ac:chgData name="Guest User" userId="S::urn:spo:anon#bc72e6c931b442e1b83d9d7baffb28dcb7bee849e2d9a5e2bb7cc25170a1c113::" providerId="AD" clId="Web-{6A609E6D-3116-3E16-F414-426718992CAD}" dt="2022-03-21T23:28:23.625" v="63" actId="1076"/>
          <ac:spMkLst>
            <pc:docMk/>
            <pc:sldMk cId="0" sldId="257"/>
            <ac:spMk id="222" creationId="{00000000-0000-0000-0000-000000000000}"/>
          </ac:spMkLst>
        </pc:spChg>
        <pc:spChg chg="mod">
          <ac:chgData name="Guest User" userId="S::urn:spo:anon#bc72e6c931b442e1b83d9d7baffb28dcb7bee849e2d9a5e2bb7cc25170a1c113::" providerId="AD" clId="Web-{6A609E6D-3116-3E16-F414-426718992CAD}" dt="2022-03-21T23:29:53.161" v="87" actId="1076"/>
          <ac:spMkLst>
            <pc:docMk/>
            <pc:sldMk cId="0" sldId="257"/>
            <ac:spMk id="224" creationId="{00000000-0000-0000-0000-000000000000}"/>
          </ac:spMkLst>
        </pc:spChg>
        <pc:spChg chg="mod">
          <ac:chgData name="Guest User" userId="S::urn:spo:anon#bc72e6c931b442e1b83d9d7baffb28dcb7bee849e2d9a5e2bb7cc25170a1c113::" providerId="AD" clId="Web-{6A609E6D-3116-3E16-F414-426718992CAD}" dt="2022-03-21T23:31:19.369" v="112" actId="1076"/>
          <ac:spMkLst>
            <pc:docMk/>
            <pc:sldMk cId="0" sldId="257"/>
            <ac:spMk id="225" creationId="{00000000-0000-0000-0000-000000000000}"/>
          </ac:spMkLst>
        </pc:spChg>
        <pc:spChg chg="mod">
          <ac:chgData name="Guest User" userId="S::urn:spo:anon#bc72e6c931b442e1b83d9d7baffb28dcb7bee849e2d9a5e2bb7cc25170a1c113::" providerId="AD" clId="Web-{6A609E6D-3116-3E16-F414-426718992CAD}" dt="2022-03-21T23:31:19.353" v="111" actId="1076"/>
          <ac:spMkLst>
            <pc:docMk/>
            <pc:sldMk cId="0" sldId="257"/>
            <ac:spMk id="226" creationId="{00000000-0000-0000-0000-000000000000}"/>
          </ac:spMkLst>
        </pc:spChg>
        <pc:spChg chg="mod">
          <ac:chgData name="Guest User" userId="S::urn:spo:anon#bc72e6c931b442e1b83d9d7baffb28dcb7bee849e2d9a5e2bb7cc25170a1c113::" providerId="AD" clId="Web-{6A609E6D-3116-3E16-F414-426718992CAD}" dt="2022-03-21T23:27:49.857" v="18" actId="14100"/>
          <ac:spMkLst>
            <pc:docMk/>
            <pc:sldMk cId="0" sldId="257"/>
            <ac:spMk id="229" creationId="{00000000-0000-0000-0000-000000000000}"/>
          </ac:spMkLst>
        </pc:spChg>
        <pc:grpChg chg="add mod">
          <ac:chgData name="Guest User" userId="S::urn:spo:anon#bc72e6c931b442e1b83d9d7baffb28dcb7bee849e2d9a5e2bb7cc25170a1c113::" providerId="AD" clId="Web-{6A609E6D-3116-3E16-F414-426718992CAD}" dt="2022-03-21T23:29:08.627" v="80" actId="1076"/>
          <ac:grpSpMkLst>
            <pc:docMk/>
            <pc:sldMk cId="0" sldId="257"/>
            <ac:grpSpMk id="2" creationId="{DEEECA5A-E03F-4135-992C-2C488710BE1C}"/>
          </ac:grpSpMkLst>
        </pc:grpChg>
        <pc:grpChg chg="mod">
          <ac:chgData name="Guest User" userId="S::urn:spo:anon#bc72e6c931b442e1b83d9d7baffb28dcb7bee849e2d9a5e2bb7cc25170a1c113::" providerId="AD" clId="Web-{6A609E6D-3116-3E16-F414-426718992CAD}" dt="2022-03-21T23:30:04.958" v="90" actId="1076"/>
          <ac:grpSpMkLst>
            <pc:docMk/>
            <pc:sldMk cId="0" sldId="257"/>
            <ac:grpSpMk id="215" creationId="{00000000-0000-0000-0000-000000000000}"/>
          </ac:grpSpMkLst>
        </pc:grpChg>
        <pc:grpChg chg="mod">
          <ac:chgData name="Guest User" userId="S::urn:spo:anon#bc72e6c931b442e1b83d9d7baffb28dcb7bee849e2d9a5e2bb7cc25170a1c113::" providerId="AD" clId="Web-{6A609E6D-3116-3E16-F414-426718992CAD}" dt="2022-03-21T23:30:04.990" v="91" actId="1076"/>
          <ac:grpSpMkLst>
            <pc:docMk/>
            <pc:sldMk cId="0" sldId="257"/>
            <ac:grpSpMk id="228" creationId="{00000000-0000-0000-0000-000000000000}"/>
          </ac:grpSpMkLst>
        </pc:grpChg>
        <pc:picChg chg="mod">
          <ac:chgData name="Guest User" userId="S::urn:spo:anon#bc72e6c931b442e1b83d9d7baffb28dcb7bee849e2d9a5e2bb7cc25170a1c113::" providerId="AD" clId="Web-{6A609E6D-3116-3E16-F414-426718992CAD}" dt="2022-03-21T23:28:23.687" v="66" actId="1076"/>
          <ac:picMkLst>
            <pc:docMk/>
            <pc:sldMk cId="0" sldId="257"/>
            <ac:picMk id="6" creationId="{7948A3F3-9796-46CE-9F61-00A80F8DEF69}"/>
          </ac:picMkLst>
        </pc:picChg>
        <pc:picChg chg="mod">
          <ac:chgData name="Guest User" userId="S::urn:spo:anon#bc72e6c931b442e1b83d9d7baffb28dcb7bee849e2d9a5e2bb7cc25170a1c113::" providerId="AD" clId="Web-{6A609E6D-3116-3E16-F414-426718992CAD}" dt="2022-03-21T23:31:19.306" v="109" actId="1076"/>
          <ac:picMkLst>
            <pc:docMk/>
            <pc:sldMk cId="0" sldId="257"/>
            <ac:picMk id="7" creationId="{95A77363-E608-4059-A435-11A522FD102A}"/>
          </ac:picMkLst>
        </pc:picChg>
        <pc:picChg chg="mod">
          <ac:chgData name="Guest User" userId="S::urn:spo:anon#bc72e6c931b442e1b83d9d7baffb28dcb7bee849e2d9a5e2bb7cc25170a1c113::" providerId="AD" clId="Web-{6A609E6D-3116-3E16-F414-426718992CAD}" dt="2022-03-21T23:28:23.328" v="52" actId="1076"/>
          <ac:picMkLst>
            <pc:docMk/>
            <pc:sldMk cId="0" sldId="257"/>
            <ac:picMk id="200" creationId="{00000000-0000-0000-0000-000000000000}"/>
          </ac:picMkLst>
        </pc:picChg>
        <pc:picChg chg="mod">
          <ac:chgData name="Guest User" userId="S::urn:spo:anon#bc72e6c931b442e1b83d9d7baffb28dcb7bee849e2d9a5e2bb7cc25170a1c113::" providerId="AD" clId="Web-{6A609E6D-3116-3E16-F414-426718992CAD}" dt="2022-03-21T23:28:23.375" v="53" actId="1076"/>
          <ac:picMkLst>
            <pc:docMk/>
            <pc:sldMk cId="0" sldId="257"/>
            <ac:picMk id="201" creationId="{00000000-0000-0000-0000-000000000000}"/>
          </ac:picMkLst>
        </pc:picChg>
        <pc:picChg chg="mod">
          <ac:chgData name="Guest User" userId="S::urn:spo:anon#bc72e6c931b442e1b83d9d7baffb28dcb7bee849e2d9a5e2bb7cc25170a1c113::" providerId="AD" clId="Web-{6A609E6D-3116-3E16-F414-426718992CAD}" dt="2022-03-21T23:29:56.489" v="88" actId="1076"/>
          <ac:picMkLst>
            <pc:docMk/>
            <pc:sldMk cId="0" sldId="257"/>
            <ac:picMk id="202" creationId="{00000000-0000-0000-0000-000000000000}"/>
          </ac:picMkLst>
        </pc:picChg>
        <pc:picChg chg="mod">
          <ac:chgData name="Guest User" userId="S::urn:spo:anon#bc72e6c931b442e1b83d9d7baffb28dcb7bee849e2d9a5e2bb7cc25170a1c113::" providerId="AD" clId="Web-{6A609E6D-3116-3E16-F414-426718992CAD}" dt="2022-03-21T23:28:23.422" v="55" actId="1076"/>
          <ac:picMkLst>
            <pc:docMk/>
            <pc:sldMk cId="0" sldId="257"/>
            <ac:picMk id="204" creationId="{00000000-0000-0000-0000-000000000000}"/>
          </ac:picMkLst>
        </pc:picChg>
        <pc:picChg chg="mod">
          <ac:chgData name="Guest User" userId="S::urn:spo:anon#bc72e6c931b442e1b83d9d7baffb28dcb7bee849e2d9a5e2bb7cc25170a1c113::" providerId="AD" clId="Web-{6A609E6D-3116-3E16-F414-426718992CAD}" dt="2022-03-21T23:28:23.453" v="56" actId="1076"/>
          <ac:picMkLst>
            <pc:docMk/>
            <pc:sldMk cId="0" sldId="257"/>
            <ac:picMk id="205" creationId="{00000000-0000-0000-0000-000000000000}"/>
          </ac:picMkLst>
        </pc:picChg>
        <pc:picChg chg="mod">
          <ac:chgData name="Guest User" userId="S::urn:spo:anon#bc72e6c931b442e1b83d9d7baffb28dcb7bee849e2d9a5e2bb7cc25170a1c113::" providerId="AD" clId="Web-{6A609E6D-3116-3E16-F414-426718992CAD}" dt="2022-03-21T23:29:53.145" v="86" actId="1076"/>
          <ac:picMkLst>
            <pc:docMk/>
            <pc:sldMk cId="0" sldId="257"/>
            <ac:picMk id="206" creationId="{00000000-0000-0000-0000-000000000000}"/>
          </ac:picMkLst>
        </pc:picChg>
        <pc:picChg chg="mod">
          <ac:chgData name="Guest User" userId="S::urn:spo:anon#bc72e6c931b442e1b83d9d7baffb28dcb7bee849e2d9a5e2bb7cc25170a1c113::" providerId="AD" clId="Web-{6A609E6D-3116-3E16-F414-426718992CAD}" dt="2022-03-21T23:28:02.546" v="21" actId="1076"/>
          <ac:picMkLst>
            <pc:docMk/>
            <pc:sldMk cId="0" sldId="257"/>
            <ac:picMk id="207" creationId="{00000000-0000-0000-0000-000000000000}"/>
          </ac:picMkLst>
        </pc:picChg>
        <pc:picChg chg="mod">
          <ac:chgData name="Guest User" userId="S::urn:spo:anon#bc72e6c931b442e1b83d9d7baffb28dcb7bee849e2d9a5e2bb7cc25170a1c113::" providerId="AD" clId="Web-{6A609E6D-3116-3E16-F414-426718992CAD}" dt="2022-03-21T23:28:02.561" v="22" actId="1076"/>
          <ac:picMkLst>
            <pc:docMk/>
            <pc:sldMk cId="0" sldId="257"/>
            <ac:picMk id="208" creationId="{00000000-0000-0000-0000-000000000000}"/>
          </ac:picMkLst>
        </pc:picChg>
        <pc:picChg chg="mod">
          <ac:chgData name="Guest User" userId="S::urn:spo:anon#bc72e6c931b442e1b83d9d7baffb28dcb7bee849e2d9a5e2bb7cc25170a1c113::" providerId="AD" clId="Web-{6A609E6D-3116-3E16-F414-426718992CAD}" dt="2022-03-21T23:28:02.593" v="23" actId="1076"/>
          <ac:picMkLst>
            <pc:docMk/>
            <pc:sldMk cId="0" sldId="257"/>
            <ac:picMk id="209" creationId="{00000000-0000-0000-0000-000000000000}"/>
          </ac:picMkLst>
        </pc:picChg>
        <pc:picChg chg="mod">
          <ac:chgData name="Guest User" userId="S::urn:spo:anon#bc72e6c931b442e1b83d9d7baffb28dcb7bee849e2d9a5e2bb7cc25170a1c113::" providerId="AD" clId="Web-{6A609E6D-3116-3E16-F414-426718992CAD}" dt="2022-03-21T23:31:36.198" v="121" actId="1076"/>
          <ac:picMkLst>
            <pc:docMk/>
            <pc:sldMk cId="0" sldId="257"/>
            <ac:picMk id="210" creationId="{00000000-0000-0000-0000-000000000000}"/>
          </ac:picMkLst>
        </pc:picChg>
        <pc:picChg chg="mod">
          <ac:chgData name="Guest User" userId="S::urn:spo:anon#bc72e6c931b442e1b83d9d7baffb28dcb7bee849e2d9a5e2bb7cc25170a1c113::" providerId="AD" clId="Web-{6A609E6D-3116-3E16-F414-426718992CAD}" dt="2022-03-21T23:31:19.322" v="110" actId="1076"/>
          <ac:picMkLst>
            <pc:docMk/>
            <pc:sldMk cId="0" sldId="257"/>
            <ac:picMk id="211" creationId="{00000000-0000-0000-0000-000000000000}"/>
          </ac:picMkLst>
        </pc:picChg>
        <pc:cxnChg chg="mod">
          <ac:chgData name="Guest User" userId="S::urn:spo:anon#bc72e6c931b442e1b83d9d7baffb28dcb7bee849e2d9a5e2bb7cc25170a1c113::" providerId="AD" clId="Web-{6A609E6D-3116-3E16-F414-426718992CAD}" dt="2022-03-21T23:31:30.541" v="120" actId="1076"/>
          <ac:cxnSpMkLst>
            <pc:docMk/>
            <pc:sldMk cId="0" sldId="257"/>
            <ac:cxnSpMk id="227" creationId="{00000000-0000-0000-0000-000000000000}"/>
          </ac:cxnSpMkLst>
        </pc:cxnChg>
      </pc:sldChg>
      <pc:sldChg chg="delSp modSp">
        <pc:chgData name="Guest User" userId="S::urn:spo:anon#bc72e6c931b442e1b83d9d7baffb28dcb7bee849e2d9a5e2bb7cc25170a1c113::" providerId="AD" clId="Web-{6A609E6D-3116-3E16-F414-426718992CAD}" dt="2022-03-21T23:35:40.477" v="171" actId="1076"/>
        <pc:sldMkLst>
          <pc:docMk/>
          <pc:sldMk cId="0" sldId="262"/>
        </pc:sldMkLst>
        <pc:spChg chg="mod">
          <ac:chgData name="Guest User" userId="S::urn:spo:anon#bc72e6c931b442e1b83d9d7baffb28dcb7bee849e2d9a5e2bb7cc25170a1c113::" providerId="AD" clId="Web-{6A609E6D-3116-3E16-F414-426718992CAD}" dt="2022-03-21T23:34:29.676" v="159" actId="14100"/>
          <ac:spMkLst>
            <pc:docMk/>
            <pc:sldMk cId="0" sldId="262"/>
            <ac:spMk id="2" creationId="{16F0995F-6B60-4E73-B4E1-435614CD0A2C}"/>
          </ac:spMkLst>
        </pc:spChg>
        <pc:spChg chg="mod">
          <ac:chgData name="Guest User" userId="S::urn:spo:anon#bc72e6c931b442e1b83d9d7baffb28dcb7bee849e2d9a5e2bb7cc25170a1c113::" providerId="AD" clId="Web-{6A609E6D-3116-3E16-F414-426718992CAD}" dt="2022-03-21T23:34:24.426" v="158" actId="1076"/>
          <ac:spMkLst>
            <pc:docMk/>
            <pc:sldMk cId="0" sldId="262"/>
            <ac:spMk id="4" creationId="{6DEBA634-77BD-47BC-BE35-9E8586A9663B}"/>
          </ac:spMkLst>
        </pc:spChg>
        <pc:spChg chg="mod">
          <ac:chgData name="Guest User" userId="S::urn:spo:anon#bc72e6c931b442e1b83d9d7baffb28dcb7bee849e2d9a5e2bb7cc25170a1c113::" providerId="AD" clId="Web-{6A609E6D-3116-3E16-F414-426718992CAD}" dt="2022-03-21T23:34:38.599" v="161" actId="14100"/>
          <ac:spMkLst>
            <pc:docMk/>
            <pc:sldMk cId="0" sldId="262"/>
            <ac:spMk id="343" creationId="{00000000-0000-0000-0000-000000000000}"/>
          </ac:spMkLst>
        </pc:spChg>
        <pc:spChg chg="del">
          <ac:chgData name="Guest User" userId="S::urn:spo:anon#bc72e6c931b442e1b83d9d7baffb28dcb7bee849e2d9a5e2bb7cc25170a1c113::" providerId="AD" clId="Web-{6A609E6D-3116-3E16-F414-426718992CAD}" dt="2022-03-21T23:33:06.781" v="130"/>
          <ac:spMkLst>
            <pc:docMk/>
            <pc:sldMk cId="0" sldId="262"/>
            <ac:spMk id="345" creationId="{00000000-0000-0000-0000-000000000000}"/>
          </ac:spMkLst>
        </pc:spChg>
        <pc:spChg chg="del">
          <ac:chgData name="Guest User" userId="S::urn:spo:anon#bc72e6c931b442e1b83d9d7baffb28dcb7bee849e2d9a5e2bb7cc25170a1c113::" providerId="AD" clId="Web-{6A609E6D-3116-3E16-F414-426718992CAD}" dt="2022-03-21T23:33:06.781" v="129"/>
          <ac:spMkLst>
            <pc:docMk/>
            <pc:sldMk cId="0" sldId="262"/>
            <ac:spMk id="346" creationId="{00000000-0000-0000-0000-000000000000}"/>
          </ac:spMkLst>
        </pc:spChg>
        <pc:spChg chg="del">
          <ac:chgData name="Guest User" userId="S::urn:spo:anon#bc72e6c931b442e1b83d9d7baffb28dcb7bee849e2d9a5e2bb7cc25170a1c113::" providerId="AD" clId="Web-{6A609E6D-3116-3E16-F414-426718992CAD}" dt="2022-03-21T23:32:59.375" v="127"/>
          <ac:spMkLst>
            <pc:docMk/>
            <pc:sldMk cId="0" sldId="262"/>
            <ac:spMk id="347" creationId="{00000000-0000-0000-0000-000000000000}"/>
          </ac:spMkLst>
        </pc:spChg>
        <pc:spChg chg="mod">
          <ac:chgData name="Guest User" userId="S::urn:spo:anon#bc72e6c931b442e1b83d9d7baffb28dcb7bee849e2d9a5e2bb7cc25170a1c113::" providerId="AD" clId="Web-{6A609E6D-3116-3E16-F414-426718992CAD}" dt="2022-03-21T23:35:20.679" v="169" actId="1076"/>
          <ac:spMkLst>
            <pc:docMk/>
            <pc:sldMk cId="0" sldId="262"/>
            <ac:spMk id="371" creationId="{00000000-0000-0000-0000-000000000000}"/>
          </ac:spMkLst>
        </pc:spChg>
        <pc:spChg chg="mod">
          <ac:chgData name="Guest User" userId="S::urn:spo:anon#bc72e6c931b442e1b83d9d7baffb28dcb7bee849e2d9a5e2bb7cc25170a1c113::" providerId="AD" clId="Web-{6A609E6D-3116-3E16-F414-426718992CAD}" dt="2022-03-21T23:34:58.459" v="163" actId="1076"/>
          <ac:spMkLst>
            <pc:docMk/>
            <pc:sldMk cId="0" sldId="262"/>
            <ac:spMk id="375" creationId="{00000000-0000-0000-0000-000000000000}"/>
          </ac:spMkLst>
        </pc:spChg>
        <pc:spChg chg="mod">
          <ac:chgData name="Guest User" userId="S::urn:spo:anon#bc72e6c931b442e1b83d9d7baffb28dcb7bee849e2d9a5e2bb7cc25170a1c113::" providerId="AD" clId="Web-{6A609E6D-3116-3E16-F414-426718992CAD}" dt="2022-03-21T23:35:20.648" v="168" actId="1076"/>
          <ac:spMkLst>
            <pc:docMk/>
            <pc:sldMk cId="0" sldId="262"/>
            <ac:spMk id="404" creationId="{00000000-0000-0000-0000-000000000000}"/>
          </ac:spMkLst>
        </pc:spChg>
        <pc:spChg chg="mod">
          <ac:chgData name="Guest User" userId="S::urn:spo:anon#bc72e6c931b442e1b83d9d7baffb28dcb7bee849e2d9a5e2bb7cc25170a1c113::" providerId="AD" clId="Web-{6A609E6D-3116-3E16-F414-426718992CAD}" dt="2022-03-21T23:34:55.084" v="162" actId="1076"/>
          <ac:spMkLst>
            <pc:docMk/>
            <pc:sldMk cId="0" sldId="262"/>
            <ac:spMk id="406" creationId="{00000000-0000-0000-0000-000000000000}"/>
          </ac:spMkLst>
        </pc:spChg>
        <pc:spChg chg="mod">
          <ac:chgData name="Guest User" userId="S::urn:spo:anon#bc72e6c931b442e1b83d9d7baffb28dcb7bee849e2d9a5e2bb7cc25170a1c113::" providerId="AD" clId="Web-{6A609E6D-3116-3E16-F414-426718992CAD}" dt="2022-03-21T23:33:48.596" v="146" actId="1076"/>
          <ac:spMkLst>
            <pc:docMk/>
            <pc:sldMk cId="0" sldId="262"/>
            <ac:spMk id="430" creationId="{00000000-0000-0000-0000-000000000000}"/>
          </ac:spMkLst>
        </pc:spChg>
        <pc:spChg chg="mod">
          <ac:chgData name="Guest User" userId="S::urn:spo:anon#bc72e6c931b442e1b83d9d7baffb28dcb7bee849e2d9a5e2bb7cc25170a1c113::" providerId="AD" clId="Web-{6A609E6D-3116-3E16-F414-426718992CAD}" dt="2022-03-21T23:33:39.877" v="143" actId="1076"/>
          <ac:spMkLst>
            <pc:docMk/>
            <pc:sldMk cId="0" sldId="262"/>
            <ac:spMk id="431" creationId="{00000000-0000-0000-0000-000000000000}"/>
          </ac:spMkLst>
        </pc:spChg>
        <pc:spChg chg="mod">
          <ac:chgData name="Guest User" userId="S::urn:spo:anon#bc72e6c931b442e1b83d9d7baffb28dcb7bee849e2d9a5e2bb7cc25170a1c113::" providerId="AD" clId="Web-{6A609E6D-3116-3E16-F414-426718992CAD}" dt="2022-03-21T23:34:14.754" v="155" actId="1076"/>
          <ac:spMkLst>
            <pc:docMk/>
            <pc:sldMk cId="0" sldId="262"/>
            <ac:spMk id="436" creationId="{00000000-0000-0000-0000-000000000000}"/>
          </ac:spMkLst>
        </pc:spChg>
        <pc:spChg chg="mod">
          <ac:chgData name="Guest User" userId="S::urn:spo:anon#bc72e6c931b442e1b83d9d7baffb28dcb7bee849e2d9a5e2bb7cc25170a1c113::" providerId="AD" clId="Web-{6A609E6D-3116-3E16-F414-426718992CAD}" dt="2022-03-21T23:34:31.895" v="160" actId="1076"/>
          <ac:spMkLst>
            <pc:docMk/>
            <pc:sldMk cId="0" sldId="262"/>
            <ac:spMk id="441" creationId="{00000000-0000-0000-0000-000000000000}"/>
          </ac:spMkLst>
        </pc:spChg>
        <pc:spChg chg="mod">
          <ac:chgData name="Guest User" userId="S::urn:spo:anon#bc72e6c931b442e1b83d9d7baffb28dcb7bee849e2d9a5e2bb7cc25170a1c113::" providerId="AD" clId="Web-{6A609E6D-3116-3E16-F414-426718992CAD}" dt="2022-03-21T23:32:42.983" v="125" actId="1076"/>
          <ac:spMkLst>
            <pc:docMk/>
            <pc:sldMk cId="0" sldId="262"/>
            <ac:spMk id="444" creationId="{00000000-0000-0000-0000-000000000000}"/>
          </ac:spMkLst>
        </pc:spChg>
        <pc:spChg chg="mod">
          <ac:chgData name="Guest User" userId="S::urn:spo:anon#bc72e6c931b442e1b83d9d7baffb28dcb7bee849e2d9a5e2bb7cc25170a1c113::" providerId="AD" clId="Web-{6A609E6D-3116-3E16-F414-426718992CAD}" dt="2022-03-21T23:32:40.014" v="124" actId="1076"/>
          <ac:spMkLst>
            <pc:docMk/>
            <pc:sldMk cId="0" sldId="262"/>
            <ac:spMk id="445" creationId="{00000000-0000-0000-0000-000000000000}"/>
          </ac:spMkLst>
        </pc:spChg>
        <pc:spChg chg="mod">
          <ac:chgData name="Guest User" userId="S::urn:spo:anon#bc72e6c931b442e1b83d9d7baffb28dcb7bee849e2d9a5e2bb7cc25170a1c113::" providerId="AD" clId="Web-{6A609E6D-3116-3E16-F414-426718992CAD}" dt="2022-03-21T23:33:58.081" v="149" actId="1076"/>
          <ac:spMkLst>
            <pc:docMk/>
            <pc:sldMk cId="0" sldId="262"/>
            <ac:spMk id="446" creationId="{00000000-0000-0000-0000-000000000000}"/>
          </ac:spMkLst>
        </pc:spChg>
        <pc:spChg chg="mod">
          <ac:chgData name="Guest User" userId="S::urn:spo:anon#bc72e6c931b442e1b83d9d7baffb28dcb7bee849e2d9a5e2bb7cc25170a1c113::" providerId="AD" clId="Web-{6A609E6D-3116-3E16-F414-426718992CAD}" dt="2022-03-21T23:33:39.845" v="142" actId="1076"/>
          <ac:spMkLst>
            <pc:docMk/>
            <pc:sldMk cId="0" sldId="262"/>
            <ac:spMk id="447" creationId="{00000000-0000-0000-0000-000000000000}"/>
          </ac:spMkLst>
        </pc:spChg>
        <pc:spChg chg="mod">
          <ac:chgData name="Guest User" userId="S::urn:spo:anon#bc72e6c931b442e1b83d9d7baffb28dcb7bee849e2d9a5e2bb7cc25170a1c113::" providerId="AD" clId="Web-{6A609E6D-3116-3E16-F414-426718992CAD}" dt="2022-03-21T23:33:01.578" v="128" actId="1076"/>
          <ac:spMkLst>
            <pc:docMk/>
            <pc:sldMk cId="0" sldId="262"/>
            <ac:spMk id="453" creationId="{00000000-0000-0000-0000-000000000000}"/>
          </ac:spMkLst>
        </pc:spChg>
        <pc:spChg chg="mod">
          <ac:chgData name="Guest User" userId="S::urn:spo:anon#bc72e6c931b442e1b83d9d7baffb28dcb7bee849e2d9a5e2bb7cc25170a1c113::" providerId="AD" clId="Web-{6A609E6D-3116-3E16-F414-426718992CAD}" dt="2022-03-21T23:35:40.477" v="171" actId="1076"/>
          <ac:spMkLst>
            <pc:docMk/>
            <pc:sldMk cId="0" sldId="262"/>
            <ac:spMk id="454" creationId="{00000000-0000-0000-0000-000000000000}"/>
          </ac:spMkLst>
        </pc:spChg>
        <pc:spChg chg="mod">
          <ac:chgData name="Guest User" userId="S::urn:spo:anon#bc72e6c931b442e1b83d9d7baffb28dcb7bee849e2d9a5e2bb7cc25170a1c113::" providerId="AD" clId="Web-{6A609E6D-3116-3E16-F414-426718992CAD}" dt="2022-03-21T23:35:38.227" v="170" actId="1076"/>
          <ac:spMkLst>
            <pc:docMk/>
            <pc:sldMk cId="0" sldId="262"/>
            <ac:spMk id="455" creationId="{00000000-0000-0000-0000-000000000000}"/>
          </ac:spMkLst>
        </pc:spChg>
        <pc:grpChg chg="mod">
          <ac:chgData name="Guest User" userId="S::urn:spo:anon#bc72e6c931b442e1b83d9d7baffb28dcb7bee849e2d9a5e2bb7cc25170a1c113::" providerId="AD" clId="Web-{6A609E6D-3116-3E16-F414-426718992CAD}" dt="2022-03-21T23:32:20.169" v="122" actId="1076"/>
          <ac:grpSpMkLst>
            <pc:docMk/>
            <pc:sldMk cId="0" sldId="262"/>
            <ac:grpSpMk id="448" creationId="{00000000-0000-0000-0000-000000000000}"/>
          </ac:grpSpMkLst>
        </pc:grpChg>
      </pc:sldChg>
      <pc:sldChg chg="modSp">
        <pc:chgData name="Guest User" userId="S::urn:spo:anon#bc72e6c931b442e1b83d9d7baffb28dcb7bee849e2d9a5e2bb7cc25170a1c113::" providerId="AD" clId="Web-{6A609E6D-3116-3E16-F414-426718992CAD}" dt="2022-03-21T23:36:56.872" v="176" actId="1076"/>
        <pc:sldMkLst>
          <pc:docMk/>
          <pc:sldMk cId="0" sldId="269"/>
        </pc:sldMkLst>
        <pc:spChg chg="mod">
          <ac:chgData name="Guest User" userId="S::urn:spo:anon#bc72e6c931b442e1b83d9d7baffb28dcb7bee849e2d9a5e2bb7cc25170a1c113::" providerId="AD" clId="Web-{6A609E6D-3116-3E16-F414-426718992CAD}" dt="2022-03-21T23:36:56.872" v="176" actId="1076"/>
          <ac:spMkLst>
            <pc:docMk/>
            <pc:sldMk cId="0" sldId="269"/>
            <ac:spMk id="16" creationId="{F29BBF2D-5F15-45EC-BE2A-14ABF1E18DB5}"/>
          </ac:spMkLst>
        </pc:spChg>
      </pc:sldChg>
      <pc:sldChg chg="modSp">
        <pc:chgData name="Guest User" userId="S::urn:spo:anon#bc72e6c931b442e1b83d9d7baffb28dcb7bee849e2d9a5e2bb7cc25170a1c113::" providerId="AD" clId="Web-{6A609E6D-3116-3E16-F414-426718992CAD}" dt="2022-03-21T23:40:35.274" v="207"/>
        <pc:sldMkLst>
          <pc:docMk/>
          <pc:sldMk cId="1295029711" sldId="333"/>
        </pc:sldMkLst>
        <pc:graphicFrameChg chg="modGraphic">
          <ac:chgData name="Guest User" userId="S::urn:spo:anon#bc72e6c931b442e1b83d9d7baffb28dcb7bee849e2d9a5e2bb7cc25170a1c113::" providerId="AD" clId="Web-{6A609E6D-3116-3E16-F414-426718992CAD}" dt="2022-03-21T23:40:35.274" v="207"/>
          <ac:graphicFrameMkLst>
            <pc:docMk/>
            <pc:sldMk cId="1295029711" sldId="333"/>
            <ac:graphicFrameMk id="694" creationId="{00000000-0000-0000-0000-000000000000}"/>
          </ac:graphicFrameMkLst>
        </pc:graphicFrameChg>
      </pc:sldChg>
      <pc:sldChg chg="modSp">
        <pc:chgData name="Guest User" userId="S::urn:spo:anon#bc72e6c931b442e1b83d9d7baffb28dcb7bee849e2d9a5e2bb7cc25170a1c113::" providerId="AD" clId="Web-{6A609E6D-3116-3E16-F414-426718992CAD}" dt="2022-03-21T23:40:27.227" v="206"/>
        <pc:sldMkLst>
          <pc:docMk/>
          <pc:sldMk cId="130301299" sldId="334"/>
        </pc:sldMkLst>
        <pc:graphicFrameChg chg="modGraphic">
          <ac:chgData name="Guest User" userId="S::urn:spo:anon#bc72e6c931b442e1b83d9d7baffb28dcb7bee849e2d9a5e2bb7cc25170a1c113::" providerId="AD" clId="Web-{6A609E6D-3116-3E16-F414-426718992CAD}" dt="2022-03-21T23:40:27.227" v="206"/>
          <ac:graphicFrameMkLst>
            <pc:docMk/>
            <pc:sldMk cId="130301299" sldId="334"/>
            <ac:graphicFrameMk id="694" creationId="{00000000-0000-0000-0000-000000000000}"/>
          </ac:graphicFrameMkLst>
        </pc:graphicFrameChg>
      </pc:sldChg>
      <pc:sldChg chg="modSp">
        <pc:chgData name="Guest User" userId="S::urn:spo:anon#bc72e6c931b442e1b83d9d7baffb28dcb7bee849e2d9a5e2bb7cc25170a1c113::" providerId="AD" clId="Web-{6A609E6D-3116-3E16-F414-426718992CAD}" dt="2022-03-21T23:36:40.246" v="175" actId="1076"/>
        <pc:sldMkLst>
          <pc:docMk/>
          <pc:sldMk cId="1209993513" sldId="338"/>
        </pc:sldMkLst>
        <pc:spChg chg="mod">
          <ac:chgData name="Guest User" userId="S::urn:spo:anon#bc72e6c931b442e1b83d9d7baffb28dcb7bee849e2d9a5e2bb7cc25170a1c113::" providerId="AD" clId="Web-{6A609E6D-3116-3E16-F414-426718992CAD}" dt="2022-03-21T23:36:26.354" v="173" actId="14100"/>
          <ac:spMkLst>
            <pc:docMk/>
            <pc:sldMk cId="1209993513" sldId="338"/>
            <ac:spMk id="10" creationId="{389A6555-68BD-49FE-A450-63908B6BC5AF}"/>
          </ac:spMkLst>
        </pc:spChg>
        <pc:spChg chg="mod">
          <ac:chgData name="Guest User" userId="S::urn:spo:anon#bc72e6c931b442e1b83d9d7baffb28dcb7bee849e2d9a5e2bb7cc25170a1c113::" providerId="AD" clId="Web-{6A609E6D-3116-3E16-F414-426718992CAD}" dt="2022-03-21T23:36:40.246" v="175" actId="1076"/>
          <ac:spMkLst>
            <pc:docMk/>
            <pc:sldMk cId="1209993513" sldId="338"/>
            <ac:spMk id="16" creationId="{F29BBF2D-5F15-45EC-BE2A-14ABF1E18DB5}"/>
          </ac:spMkLst>
        </pc:spChg>
        <pc:spChg chg="mod">
          <ac:chgData name="Guest User" userId="S::urn:spo:anon#bc72e6c931b442e1b83d9d7baffb28dcb7bee849e2d9a5e2bb7cc25170a1c113::" providerId="AD" clId="Web-{6A609E6D-3116-3E16-F414-426718992CAD}" dt="2022-03-21T23:36:40.230" v="174" actId="1076"/>
          <ac:spMkLst>
            <pc:docMk/>
            <pc:sldMk cId="1209993513" sldId="338"/>
            <ac:spMk id="605" creationId="{00000000-0000-0000-0000-000000000000}"/>
          </ac:spMkLst>
        </pc:spChg>
      </pc:sldChg>
      <pc:sldChg chg="modSp">
        <pc:chgData name="Guest User" userId="S::urn:spo:anon#bc72e6c931b442e1b83d9d7baffb28dcb7bee849e2d9a5e2bb7cc25170a1c113::" providerId="AD" clId="Web-{6A609E6D-3116-3E16-F414-426718992CAD}" dt="2022-03-21T23:37:08.107" v="178" actId="1076"/>
        <pc:sldMkLst>
          <pc:docMk/>
          <pc:sldMk cId="1639760722" sldId="344"/>
        </pc:sldMkLst>
        <pc:spChg chg="mod">
          <ac:chgData name="Guest User" userId="S::urn:spo:anon#bc72e6c931b442e1b83d9d7baffb28dcb7bee849e2d9a5e2bb7cc25170a1c113::" providerId="AD" clId="Web-{6A609E6D-3116-3E16-F414-426718992CAD}" dt="2022-03-21T23:37:08.107" v="178" actId="1076"/>
          <ac:spMkLst>
            <pc:docMk/>
            <pc:sldMk cId="1639760722" sldId="344"/>
            <ac:spMk id="16" creationId="{F29BBF2D-5F15-45EC-BE2A-14ABF1E18DB5}"/>
          </ac:spMkLst>
        </pc:spChg>
      </pc:sldChg>
      <pc:sldChg chg="modSp">
        <pc:chgData name="Guest User" userId="S::urn:spo:anon#bc72e6c931b442e1b83d9d7baffb28dcb7bee849e2d9a5e2bb7cc25170a1c113::" providerId="AD" clId="Web-{6A609E6D-3116-3E16-F414-426718992CAD}" dt="2022-03-21T23:38:46.190" v="196"/>
        <pc:sldMkLst>
          <pc:docMk/>
          <pc:sldMk cId="2963563579" sldId="348"/>
        </pc:sldMkLst>
        <pc:picChg chg="mod">
          <ac:chgData name="Guest User" userId="S::urn:spo:anon#bc72e6c931b442e1b83d9d7baffb28dcb7bee849e2d9a5e2bb7cc25170a1c113::" providerId="AD" clId="Web-{6A609E6D-3116-3E16-F414-426718992CAD}" dt="2022-03-21T23:38:46.127" v="195"/>
          <ac:picMkLst>
            <pc:docMk/>
            <pc:sldMk cId="2963563579" sldId="348"/>
            <ac:picMk id="5" creationId="{0EC0F891-55BF-4D55-8E8B-B53DA8C4E767}"/>
          </ac:picMkLst>
        </pc:picChg>
        <pc:picChg chg="mod">
          <ac:chgData name="Guest User" userId="S::urn:spo:anon#bc72e6c931b442e1b83d9d7baffb28dcb7bee849e2d9a5e2bb7cc25170a1c113::" providerId="AD" clId="Web-{6A609E6D-3116-3E16-F414-426718992CAD}" dt="2022-03-21T23:38:46.190" v="196"/>
          <ac:picMkLst>
            <pc:docMk/>
            <pc:sldMk cId="2963563579" sldId="348"/>
            <ac:picMk id="6" creationId="{EDE8B35B-47B6-4765-BFAE-21B063BC34CB}"/>
          </ac:picMkLst>
        </pc:picChg>
      </pc:sldChg>
      <pc:sldChg chg="modSp">
        <pc:chgData name="Guest User" userId="S::urn:spo:anon#bc72e6c931b442e1b83d9d7baffb28dcb7bee849e2d9a5e2bb7cc25170a1c113::" providerId="AD" clId="Web-{6A609E6D-3116-3E16-F414-426718992CAD}" dt="2022-03-21T23:37:49.843" v="187" actId="1076"/>
        <pc:sldMkLst>
          <pc:docMk/>
          <pc:sldMk cId="4017139295" sldId="356"/>
        </pc:sldMkLst>
        <pc:spChg chg="mod">
          <ac:chgData name="Guest User" userId="S::urn:spo:anon#bc72e6c931b442e1b83d9d7baffb28dcb7bee849e2d9a5e2bb7cc25170a1c113::" providerId="AD" clId="Web-{6A609E6D-3116-3E16-F414-426718992CAD}" dt="2022-03-21T23:37:49.843" v="187" actId="1076"/>
          <ac:spMkLst>
            <pc:docMk/>
            <pc:sldMk cId="4017139295" sldId="356"/>
            <ac:spMk id="16" creationId="{F29BBF2D-5F15-45EC-BE2A-14ABF1E18DB5}"/>
          </ac:spMkLst>
        </pc:spChg>
      </pc:sldChg>
      <pc:sldChg chg="modSp">
        <pc:chgData name="Guest User" userId="S::urn:spo:anon#bc72e6c931b442e1b83d9d7baffb28dcb7bee849e2d9a5e2bb7cc25170a1c113::" providerId="AD" clId="Web-{6A609E6D-3116-3E16-F414-426718992CAD}" dt="2022-03-21T23:38:22.282" v="192" actId="1076"/>
        <pc:sldMkLst>
          <pc:docMk/>
          <pc:sldMk cId="73800528" sldId="357"/>
        </pc:sldMkLst>
        <pc:spChg chg="mod">
          <ac:chgData name="Guest User" userId="S::urn:spo:anon#bc72e6c931b442e1b83d9d7baffb28dcb7bee849e2d9a5e2bb7cc25170a1c113::" providerId="AD" clId="Web-{6A609E6D-3116-3E16-F414-426718992CAD}" dt="2022-03-21T23:38:22.282" v="192" actId="1076"/>
          <ac:spMkLst>
            <pc:docMk/>
            <pc:sldMk cId="73800528" sldId="357"/>
            <ac:spMk id="16" creationId="{F29BBF2D-5F15-45EC-BE2A-14ABF1E18DB5}"/>
          </ac:spMkLst>
        </pc:spChg>
      </pc:sldChg>
      <pc:sldChg chg="modSp">
        <pc:chgData name="Guest User" userId="S::urn:spo:anon#bc72e6c931b442e1b83d9d7baffb28dcb7bee849e2d9a5e2bb7cc25170a1c113::" providerId="AD" clId="Web-{6A609E6D-3116-3E16-F414-426718992CAD}" dt="2022-03-21T23:39:02.410" v="200"/>
        <pc:sldMkLst>
          <pc:docMk/>
          <pc:sldMk cId="2689461321" sldId="358"/>
        </pc:sldMkLst>
        <pc:picChg chg="mod">
          <ac:chgData name="Guest User" userId="S::urn:spo:anon#bc72e6c931b442e1b83d9d7baffb28dcb7bee849e2d9a5e2bb7cc25170a1c113::" providerId="AD" clId="Web-{6A609E6D-3116-3E16-F414-426718992CAD}" dt="2022-03-21T23:39:02.253" v="199"/>
          <ac:picMkLst>
            <pc:docMk/>
            <pc:sldMk cId="2689461321" sldId="358"/>
            <ac:picMk id="5" creationId="{0EC0F891-55BF-4D55-8E8B-B53DA8C4E767}"/>
          </ac:picMkLst>
        </pc:picChg>
        <pc:picChg chg="mod">
          <ac:chgData name="Guest User" userId="S::urn:spo:anon#bc72e6c931b442e1b83d9d7baffb28dcb7bee849e2d9a5e2bb7cc25170a1c113::" providerId="AD" clId="Web-{6A609E6D-3116-3E16-F414-426718992CAD}" dt="2022-03-21T23:39:02.410" v="200"/>
          <ac:picMkLst>
            <pc:docMk/>
            <pc:sldMk cId="2689461321" sldId="358"/>
            <ac:picMk id="6" creationId="{EDE8B35B-47B6-4765-BFAE-21B063BC34CB}"/>
          </ac:picMkLst>
        </pc:picChg>
      </pc:sldChg>
      <pc:sldChg chg="modSp">
        <pc:chgData name="Guest User" userId="S::urn:spo:anon#bc72e6c931b442e1b83d9d7baffb28dcb7bee849e2d9a5e2bb7cc25170a1c113::" providerId="AD" clId="Web-{6A609E6D-3116-3E16-F414-426718992CAD}" dt="2022-03-21T23:39:23.239" v="204"/>
        <pc:sldMkLst>
          <pc:docMk/>
          <pc:sldMk cId="3173610986" sldId="359"/>
        </pc:sldMkLst>
        <pc:picChg chg="mod">
          <ac:chgData name="Guest User" userId="S::urn:spo:anon#bc72e6c931b442e1b83d9d7baffb28dcb7bee849e2d9a5e2bb7cc25170a1c113::" providerId="AD" clId="Web-{6A609E6D-3116-3E16-F414-426718992CAD}" dt="2022-03-21T23:39:23.176" v="203"/>
          <ac:picMkLst>
            <pc:docMk/>
            <pc:sldMk cId="3173610986" sldId="359"/>
            <ac:picMk id="5" creationId="{0EC0F891-55BF-4D55-8E8B-B53DA8C4E767}"/>
          </ac:picMkLst>
        </pc:picChg>
        <pc:picChg chg="mod">
          <ac:chgData name="Guest User" userId="S::urn:spo:anon#bc72e6c931b442e1b83d9d7baffb28dcb7bee849e2d9a5e2bb7cc25170a1c113::" providerId="AD" clId="Web-{6A609E6D-3116-3E16-F414-426718992CAD}" dt="2022-03-21T23:39:23.239" v="204"/>
          <ac:picMkLst>
            <pc:docMk/>
            <pc:sldMk cId="3173610986" sldId="359"/>
            <ac:picMk id="6" creationId="{EDE8B35B-47B6-4765-BFAE-21B063BC34CB}"/>
          </ac:picMkLst>
        </pc:picChg>
      </pc:sldChg>
    </pc:docChg>
  </pc:docChgLst>
  <pc:docChgLst>
    <pc:chgData name="Guest User" userId="S::urn:spo:anon#c437c167f923f422528aee73b5e70e5726914197d2dec7f210a84ae49e8498a7::" providerId="AD" clId="Web-{7DE86EE7-F10F-40AE-DB63-712D965BE480}"/>
    <pc:docChg chg="modSld">
      <pc:chgData name="Guest User" userId="S::urn:spo:anon#c437c167f923f422528aee73b5e70e5726914197d2dec7f210a84ae49e8498a7::" providerId="AD" clId="Web-{7DE86EE7-F10F-40AE-DB63-712D965BE480}" dt="2022-04-04T01:36:32.173" v="546" actId="20577"/>
      <pc:docMkLst>
        <pc:docMk/>
      </pc:docMkLst>
      <pc:sldChg chg="modSp">
        <pc:chgData name="Guest User" userId="S::urn:spo:anon#c437c167f923f422528aee73b5e70e5726914197d2dec7f210a84ae49e8498a7::" providerId="AD" clId="Web-{7DE86EE7-F10F-40AE-DB63-712D965BE480}" dt="2022-04-03T23:20:17.813" v="6" actId="20577"/>
        <pc:sldMkLst>
          <pc:docMk/>
          <pc:sldMk cId="0" sldId="259"/>
        </pc:sldMkLst>
        <pc:spChg chg="mod">
          <ac:chgData name="Guest User" userId="S::urn:spo:anon#c437c167f923f422528aee73b5e70e5726914197d2dec7f210a84ae49e8498a7::" providerId="AD" clId="Web-{7DE86EE7-F10F-40AE-DB63-712D965BE480}" dt="2022-04-03T23:20:17.813" v="6" actId="20577"/>
          <ac:spMkLst>
            <pc:docMk/>
            <pc:sldMk cId="0" sldId="259"/>
            <ac:spMk id="2" creationId="{332FAA88-0C1A-23EC-244B-BB586AB16ADA}"/>
          </ac:spMkLst>
        </pc:spChg>
        <pc:spChg chg="mod">
          <ac:chgData name="Guest User" userId="S::urn:spo:anon#c437c167f923f422528aee73b5e70e5726914197d2dec7f210a84ae49e8498a7::" providerId="AD" clId="Web-{7DE86EE7-F10F-40AE-DB63-712D965BE480}" dt="2022-04-03T23:19:20.139" v="0" actId="14100"/>
          <ac:spMkLst>
            <pc:docMk/>
            <pc:sldMk cId="0" sldId="259"/>
            <ac:spMk id="312" creationId="{00000000-0000-0000-0000-000000000000}"/>
          </ac:spMkLst>
        </pc:spChg>
      </pc:sldChg>
      <pc:sldChg chg="modSp">
        <pc:chgData name="Guest User" userId="S::urn:spo:anon#c437c167f923f422528aee73b5e70e5726914197d2dec7f210a84ae49e8498a7::" providerId="AD" clId="Web-{7DE86EE7-F10F-40AE-DB63-712D965BE480}" dt="2022-04-03T23:32:10.238" v="74" actId="20577"/>
        <pc:sldMkLst>
          <pc:docMk/>
          <pc:sldMk cId="0" sldId="264"/>
        </pc:sldMkLst>
        <pc:spChg chg="mod">
          <ac:chgData name="Guest User" userId="S::urn:spo:anon#c437c167f923f422528aee73b5e70e5726914197d2dec7f210a84ae49e8498a7::" providerId="AD" clId="Web-{7DE86EE7-F10F-40AE-DB63-712D965BE480}" dt="2022-04-03T23:32:10.238" v="74" actId="20577"/>
          <ac:spMkLst>
            <pc:docMk/>
            <pc:sldMk cId="0" sldId="264"/>
            <ac:spMk id="4" creationId="{2A7D3A66-4741-5C35-EDF0-07C9E0489A88}"/>
          </ac:spMkLst>
        </pc:spChg>
        <pc:spChg chg="mod">
          <ac:chgData name="Guest User" userId="S::urn:spo:anon#c437c167f923f422528aee73b5e70e5726914197d2dec7f210a84ae49e8498a7::" providerId="AD" clId="Web-{7DE86EE7-F10F-40AE-DB63-712D965BE480}" dt="2022-04-03T23:32:00.363" v="72" actId="20577"/>
          <ac:spMkLst>
            <pc:docMk/>
            <pc:sldMk cId="0" sldId="264"/>
            <ac:spMk id="26" creationId="{63D5B65A-793E-4E79-B52C-834340BABD85}"/>
          </ac:spMkLst>
        </pc:spChg>
        <pc:spChg chg="mod">
          <ac:chgData name="Guest User" userId="S::urn:spo:anon#c437c167f923f422528aee73b5e70e5726914197d2dec7f210a84ae49e8498a7::" providerId="AD" clId="Web-{7DE86EE7-F10F-40AE-DB63-712D965BE480}" dt="2022-04-03T23:31:28.066" v="54" actId="20577"/>
          <ac:spMkLst>
            <pc:docMk/>
            <pc:sldMk cId="0" sldId="264"/>
            <ac:spMk id="30" creationId="{100AEE39-1F64-4466-ACEE-5B01ED088536}"/>
          </ac:spMkLst>
        </pc:spChg>
      </pc:sldChg>
      <pc:sldChg chg="addSp modSp">
        <pc:chgData name="Guest User" userId="S::urn:spo:anon#c437c167f923f422528aee73b5e70e5726914197d2dec7f210a84ae49e8498a7::" providerId="AD" clId="Web-{7DE86EE7-F10F-40AE-DB63-712D965BE480}" dt="2022-04-03T23:27:18.275" v="21" actId="14100"/>
        <pc:sldMkLst>
          <pc:docMk/>
          <pc:sldMk cId="2486721525" sldId="341"/>
        </pc:sldMkLst>
        <pc:spChg chg="add mod">
          <ac:chgData name="Guest User" userId="S::urn:spo:anon#c437c167f923f422528aee73b5e70e5726914197d2dec7f210a84ae49e8498a7::" providerId="AD" clId="Web-{7DE86EE7-F10F-40AE-DB63-712D965BE480}" dt="2022-04-03T23:27:18.275" v="21" actId="14100"/>
          <ac:spMkLst>
            <pc:docMk/>
            <pc:sldMk cId="2486721525" sldId="341"/>
            <ac:spMk id="101" creationId="{C490854A-3705-D3C2-CB0B-CA528B8E7892}"/>
          </ac:spMkLst>
        </pc:spChg>
        <pc:spChg chg="mod">
          <ac:chgData name="Guest User" userId="S::urn:spo:anon#c437c167f923f422528aee73b5e70e5726914197d2dec7f210a84ae49e8498a7::" providerId="AD" clId="Web-{7DE86EE7-F10F-40AE-DB63-712D965BE480}" dt="2022-04-03T23:25:11.444" v="8" actId="1076"/>
          <ac:spMkLst>
            <pc:docMk/>
            <pc:sldMk cId="2486721525" sldId="341"/>
            <ac:spMk id="116" creationId="{473E579E-3692-41BD-8D3D-A49F032BB7D1}"/>
          </ac:spMkLst>
        </pc:spChg>
      </pc:sldChg>
      <pc:sldChg chg="modSp">
        <pc:chgData name="Guest User" userId="S::urn:spo:anon#c437c167f923f422528aee73b5e70e5726914197d2dec7f210a84ae49e8498a7::" providerId="AD" clId="Web-{7DE86EE7-F10F-40AE-DB63-712D965BE480}" dt="2022-04-03T23:33:53.444" v="75" actId="1076"/>
        <pc:sldMkLst>
          <pc:docMk/>
          <pc:sldMk cId="4114424017" sldId="342"/>
        </pc:sldMkLst>
        <pc:spChg chg="mod">
          <ac:chgData name="Guest User" userId="S::urn:spo:anon#c437c167f923f422528aee73b5e70e5726914197d2dec7f210a84ae49e8498a7::" providerId="AD" clId="Web-{7DE86EE7-F10F-40AE-DB63-712D965BE480}" dt="2022-04-03T23:33:53.444" v="75" actId="1076"/>
          <ac:spMkLst>
            <pc:docMk/>
            <pc:sldMk cId="4114424017" sldId="342"/>
            <ac:spMk id="11" creationId="{32873532-4DAB-46C2-9B1C-F38B26BCDC39}"/>
          </ac:spMkLst>
        </pc:spChg>
      </pc:sldChg>
      <pc:sldChg chg="delSp modSp">
        <pc:chgData name="Guest User" userId="S::urn:spo:anon#c437c167f923f422528aee73b5e70e5726914197d2dec7f210a84ae49e8498a7::" providerId="AD" clId="Web-{7DE86EE7-F10F-40AE-DB63-712D965BE480}" dt="2022-04-04T00:50:05.052" v="477"/>
        <pc:sldMkLst>
          <pc:docMk/>
          <pc:sldMk cId="2576879601" sldId="365"/>
        </pc:sldMkLst>
        <pc:spChg chg="mod">
          <ac:chgData name="Guest User" userId="S::urn:spo:anon#c437c167f923f422528aee73b5e70e5726914197d2dec7f210a84ae49e8498a7::" providerId="AD" clId="Web-{7DE86EE7-F10F-40AE-DB63-712D965BE480}" dt="2022-04-04T00:49:43.989" v="476" actId="20577"/>
          <ac:spMkLst>
            <pc:docMk/>
            <pc:sldMk cId="2576879601" sldId="365"/>
            <ac:spMk id="3" creationId="{346B9D98-5C00-250F-2E85-76FD3A920D22}"/>
          </ac:spMkLst>
        </pc:spChg>
        <pc:spChg chg="mod">
          <ac:chgData name="Guest User" userId="S::urn:spo:anon#c437c167f923f422528aee73b5e70e5726914197d2dec7f210a84ae49e8498a7::" providerId="AD" clId="Web-{7DE86EE7-F10F-40AE-DB63-712D965BE480}" dt="2022-04-04T00:50:05.052" v="477"/>
          <ac:spMkLst>
            <pc:docMk/>
            <pc:sldMk cId="2576879601" sldId="365"/>
            <ac:spMk id="5" creationId="{B7651FB1-3FE6-E20B-3600-01AAC0F88061}"/>
          </ac:spMkLst>
        </pc:spChg>
        <pc:spChg chg="mod">
          <ac:chgData name="Guest User" userId="S::urn:spo:anon#c437c167f923f422528aee73b5e70e5726914197d2dec7f210a84ae49e8498a7::" providerId="AD" clId="Web-{7DE86EE7-F10F-40AE-DB63-712D965BE480}" dt="2022-04-04T00:45:27.977" v="473" actId="20577"/>
          <ac:spMkLst>
            <pc:docMk/>
            <pc:sldMk cId="2576879601" sldId="365"/>
            <ac:spMk id="6" creationId="{74F8F5B6-6C79-278D-D3C6-E2F59AC9C58B}"/>
          </ac:spMkLst>
        </pc:spChg>
        <pc:spChg chg="del">
          <ac:chgData name="Guest User" userId="S::urn:spo:anon#c437c167f923f422528aee73b5e70e5726914197d2dec7f210a84ae49e8498a7::" providerId="AD" clId="Web-{7DE86EE7-F10F-40AE-DB63-712D965BE480}" dt="2022-04-04T00:45:20.305" v="471"/>
          <ac:spMkLst>
            <pc:docMk/>
            <pc:sldMk cId="2576879601" sldId="365"/>
            <ac:spMk id="8" creationId="{BAE03099-60F2-2556-8330-F7C06AE829D3}"/>
          </ac:spMkLst>
        </pc:spChg>
      </pc:sldChg>
      <pc:sldChg chg="addSp delSp modSp">
        <pc:chgData name="Guest User" userId="S::urn:spo:anon#c437c167f923f422528aee73b5e70e5726914197d2dec7f210a84ae49e8498a7::" providerId="AD" clId="Web-{7DE86EE7-F10F-40AE-DB63-712D965BE480}" dt="2022-04-04T00:39:46.281" v="467" actId="20577"/>
        <pc:sldMkLst>
          <pc:docMk/>
          <pc:sldMk cId="1695560817" sldId="366"/>
        </pc:sldMkLst>
        <pc:spChg chg="mod">
          <ac:chgData name="Guest User" userId="S::urn:spo:anon#c437c167f923f422528aee73b5e70e5726914197d2dec7f210a84ae49e8498a7::" providerId="AD" clId="Web-{7DE86EE7-F10F-40AE-DB63-712D965BE480}" dt="2022-04-04T00:39:46.281" v="467" actId="20577"/>
          <ac:spMkLst>
            <pc:docMk/>
            <pc:sldMk cId="1695560817" sldId="366"/>
            <ac:spMk id="3" creationId="{F1048966-CD25-3754-6E9D-DB4371B1B8BB}"/>
          </ac:spMkLst>
        </pc:spChg>
        <pc:spChg chg="add del mod">
          <ac:chgData name="Guest User" userId="S::urn:spo:anon#c437c167f923f422528aee73b5e70e5726914197d2dec7f210a84ae49e8498a7::" providerId="AD" clId="Web-{7DE86EE7-F10F-40AE-DB63-712D965BE480}" dt="2022-04-04T00:29:57.140" v="368"/>
          <ac:spMkLst>
            <pc:docMk/>
            <pc:sldMk cId="1695560817" sldId="366"/>
            <ac:spMk id="4" creationId="{F3B9DF74-A248-A562-3ECA-9E42FBCDE99D}"/>
          </ac:spMkLst>
        </pc:spChg>
        <pc:spChg chg="add mod">
          <ac:chgData name="Guest User" userId="S::urn:spo:anon#c437c167f923f422528aee73b5e70e5726914197d2dec7f210a84ae49e8498a7::" providerId="AD" clId="Web-{7DE86EE7-F10F-40AE-DB63-712D965BE480}" dt="2022-04-04T00:33:50.021" v="406" actId="1076"/>
          <ac:spMkLst>
            <pc:docMk/>
            <pc:sldMk cId="1695560817" sldId="366"/>
            <ac:spMk id="5" creationId="{0A512D6F-DF46-9968-F0BB-A3D859B3FC70}"/>
          </ac:spMkLst>
        </pc:spChg>
        <pc:spChg chg="add mod">
          <ac:chgData name="Guest User" userId="S::urn:spo:anon#c437c167f923f422528aee73b5e70e5726914197d2dec7f210a84ae49e8498a7::" providerId="AD" clId="Web-{7DE86EE7-F10F-40AE-DB63-712D965BE480}" dt="2022-04-04T00:33:50.006" v="405" actId="1076"/>
          <ac:spMkLst>
            <pc:docMk/>
            <pc:sldMk cId="1695560817" sldId="366"/>
            <ac:spMk id="7" creationId="{13934D1C-6E4A-EDA6-05C5-4249C9B8C8B5}"/>
          </ac:spMkLst>
        </pc:spChg>
        <pc:spChg chg="mod">
          <ac:chgData name="Guest User" userId="S::urn:spo:anon#c437c167f923f422528aee73b5e70e5726914197d2dec7f210a84ae49e8498a7::" providerId="AD" clId="Web-{7DE86EE7-F10F-40AE-DB63-712D965BE480}" dt="2022-04-04T00:19:30.076" v="318" actId="1076"/>
          <ac:spMkLst>
            <pc:docMk/>
            <pc:sldMk cId="1695560817" sldId="366"/>
            <ac:spMk id="36" creationId="{B54A5F69-1C30-7571-6B17-59787A961DAF}"/>
          </ac:spMkLst>
        </pc:spChg>
        <pc:spChg chg="add mod">
          <ac:chgData name="Guest User" userId="S::urn:spo:anon#c437c167f923f422528aee73b5e70e5726914197d2dec7f210a84ae49e8498a7::" providerId="AD" clId="Web-{7DE86EE7-F10F-40AE-DB63-712D965BE480}" dt="2022-04-04T00:18:23.731" v="296" actId="14100"/>
          <ac:spMkLst>
            <pc:docMk/>
            <pc:sldMk cId="1695560817" sldId="366"/>
            <ac:spMk id="40" creationId="{611EBE9E-2A7C-8DB0-CAE5-712C95EA2AD3}"/>
          </ac:spMkLst>
        </pc:spChg>
        <pc:spChg chg="add mod">
          <ac:chgData name="Guest User" userId="S::urn:spo:anon#c437c167f923f422528aee73b5e70e5726914197d2dec7f210a84ae49e8498a7::" providerId="AD" clId="Web-{7DE86EE7-F10F-40AE-DB63-712D965BE480}" dt="2022-04-04T00:18:17.543" v="295" actId="14100"/>
          <ac:spMkLst>
            <pc:docMk/>
            <pc:sldMk cId="1695560817" sldId="366"/>
            <ac:spMk id="41" creationId="{3B6580CA-499D-CC3F-919D-5AA5927A4604}"/>
          </ac:spMkLst>
        </pc:spChg>
        <pc:spChg chg="add mod">
          <ac:chgData name="Guest User" userId="S::urn:spo:anon#c437c167f923f422528aee73b5e70e5726914197d2dec7f210a84ae49e8498a7::" providerId="AD" clId="Web-{7DE86EE7-F10F-40AE-DB63-712D965BE480}" dt="2022-04-04T00:11:32.689" v="254" actId="20577"/>
          <ac:spMkLst>
            <pc:docMk/>
            <pc:sldMk cId="1695560817" sldId="366"/>
            <ac:spMk id="42" creationId="{1B08A347-B138-5843-98E6-3B81B9906B8E}"/>
          </ac:spMkLst>
        </pc:spChg>
        <pc:spChg chg="add mod">
          <ac:chgData name="Guest User" userId="S::urn:spo:anon#c437c167f923f422528aee73b5e70e5726914197d2dec7f210a84ae49e8498a7::" providerId="AD" clId="Web-{7DE86EE7-F10F-40AE-DB63-712D965BE480}" dt="2022-04-04T00:33:32.614" v="400" actId="1076"/>
          <ac:spMkLst>
            <pc:docMk/>
            <pc:sldMk cId="1695560817" sldId="366"/>
            <ac:spMk id="43" creationId="{FFB81ECA-772E-68F4-8228-B55348D36206}"/>
          </ac:spMkLst>
        </pc:spChg>
        <pc:spChg chg="add del mod">
          <ac:chgData name="Guest User" userId="S::urn:spo:anon#c437c167f923f422528aee73b5e70e5726914197d2dec7f210a84ae49e8498a7::" providerId="AD" clId="Web-{7DE86EE7-F10F-40AE-DB63-712D965BE480}" dt="2022-04-04T00:14:34.287" v="273"/>
          <ac:spMkLst>
            <pc:docMk/>
            <pc:sldMk cId="1695560817" sldId="366"/>
            <ac:spMk id="44" creationId="{639691B6-B92F-CCB1-2D0E-82FA7ED8B6A8}"/>
          </ac:spMkLst>
        </pc:spChg>
        <pc:spChg chg="add mod">
          <ac:chgData name="Guest User" userId="S::urn:spo:anon#c437c167f923f422528aee73b5e70e5726914197d2dec7f210a84ae49e8498a7::" providerId="AD" clId="Web-{7DE86EE7-F10F-40AE-DB63-712D965BE480}" dt="2022-04-04T00:15:02.038" v="279" actId="20577"/>
          <ac:spMkLst>
            <pc:docMk/>
            <pc:sldMk cId="1695560817" sldId="366"/>
            <ac:spMk id="45" creationId="{BB66F23D-66B3-02EE-5766-5C1F76D9CAFF}"/>
          </ac:spMkLst>
        </pc:spChg>
        <pc:spChg chg="mod">
          <ac:chgData name="Guest User" userId="S::urn:spo:anon#c437c167f923f422528aee73b5e70e5726914197d2dec7f210a84ae49e8498a7::" providerId="AD" clId="Web-{7DE86EE7-F10F-40AE-DB63-712D965BE480}" dt="2022-04-04T00:20:19.562" v="323" actId="1076"/>
          <ac:spMkLst>
            <pc:docMk/>
            <pc:sldMk cId="1695560817" sldId="366"/>
            <ac:spMk id="46" creationId="{1E1C1585-D404-40C5-7DD6-1A36C13365DD}"/>
          </ac:spMkLst>
        </pc:spChg>
        <pc:spChg chg="add mod">
          <ac:chgData name="Guest User" userId="S::urn:spo:anon#c437c167f923f422528aee73b5e70e5726914197d2dec7f210a84ae49e8498a7::" providerId="AD" clId="Web-{7DE86EE7-F10F-40AE-DB63-712D965BE480}" dt="2022-04-04T00:33:07.364" v="396" actId="1076"/>
          <ac:spMkLst>
            <pc:docMk/>
            <pc:sldMk cId="1695560817" sldId="366"/>
            <ac:spMk id="47" creationId="{635EA343-E326-C59A-DD60-9A2325E5F077}"/>
          </ac:spMkLst>
        </pc:spChg>
        <pc:spChg chg="add del mod">
          <ac:chgData name="Guest User" userId="S::urn:spo:anon#c437c167f923f422528aee73b5e70e5726914197d2dec7f210a84ae49e8498a7::" providerId="AD" clId="Web-{7DE86EE7-F10F-40AE-DB63-712D965BE480}" dt="2022-04-04T00:25:33.477" v="334"/>
          <ac:spMkLst>
            <pc:docMk/>
            <pc:sldMk cId="1695560817" sldId="366"/>
            <ac:spMk id="49" creationId="{4F7CD110-2E96-73F9-15EC-09D380024846}"/>
          </ac:spMkLst>
        </pc:spChg>
        <pc:spChg chg="add del">
          <ac:chgData name="Guest User" userId="S::urn:spo:anon#c437c167f923f422528aee73b5e70e5726914197d2dec7f210a84ae49e8498a7::" providerId="AD" clId="Web-{7DE86EE7-F10F-40AE-DB63-712D965BE480}" dt="2022-04-04T00:28:04.059" v="356"/>
          <ac:spMkLst>
            <pc:docMk/>
            <pc:sldMk cId="1695560817" sldId="366"/>
            <ac:spMk id="51" creationId="{F2574BA2-3BC3-B0DC-AEB4-23481F30DEBC}"/>
          </ac:spMkLst>
        </pc:spChg>
        <pc:spChg chg="add del">
          <ac:chgData name="Guest User" userId="S::urn:spo:anon#c437c167f923f422528aee73b5e70e5726914197d2dec7f210a84ae49e8498a7::" providerId="AD" clId="Web-{7DE86EE7-F10F-40AE-DB63-712D965BE480}" dt="2022-04-04T00:34:28.538" v="408"/>
          <ac:spMkLst>
            <pc:docMk/>
            <pc:sldMk cId="1695560817" sldId="366"/>
            <ac:spMk id="53" creationId="{0D6E3B92-8F74-C4E3-DD2C-99ECB7C89DD9}"/>
          </ac:spMkLst>
        </pc:spChg>
        <pc:spChg chg="add mod">
          <ac:chgData name="Guest User" userId="S::urn:spo:anon#c437c167f923f422528aee73b5e70e5726914197d2dec7f210a84ae49e8498a7::" providerId="AD" clId="Web-{7DE86EE7-F10F-40AE-DB63-712D965BE480}" dt="2022-04-04T00:35:10.148" v="427" actId="20577"/>
          <ac:spMkLst>
            <pc:docMk/>
            <pc:sldMk cId="1695560817" sldId="366"/>
            <ac:spMk id="55" creationId="{848D1D00-5AAC-E43D-57E3-DF6A3967DF99}"/>
          </ac:spMkLst>
        </pc:spChg>
        <pc:spChg chg="add mod">
          <ac:chgData name="Guest User" userId="S::urn:spo:anon#c437c167f923f422528aee73b5e70e5726914197d2dec7f210a84ae49e8498a7::" providerId="AD" clId="Web-{7DE86EE7-F10F-40AE-DB63-712D965BE480}" dt="2022-04-04T00:38:27.060" v="463" actId="20577"/>
          <ac:spMkLst>
            <pc:docMk/>
            <pc:sldMk cId="1695560817" sldId="366"/>
            <ac:spMk id="57" creationId="{517415E3-5292-CB76-E3BF-5A88419C6143}"/>
          </ac:spMkLst>
        </pc:spChg>
        <pc:spChg chg="mod">
          <ac:chgData name="Guest User" userId="S::urn:spo:anon#c437c167f923f422528aee73b5e70e5726914197d2dec7f210a84ae49e8498a7::" providerId="AD" clId="Web-{7DE86EE7-F10F-40AE-DB63-712D965BE480}" dt="2022-04-04T00:08:29.778" v="220" actId="1076"/>
          <ac:spMkLst>
            <pc:docMk/>
            <pc:sldMk cId="1695560817" sldId="366"/>
            <ac:spMk id="72" creationId="{2076A5C8-D785-DF79-4D6A-C1A4C3D4A83F}"/>
          </ac:spMkLst>
        </pc:spChg>
        <pc:spChg chg="mod">
          <ac:chgData name="Guest User" userId="S::urn:spo:anon#c437c167f923f422528aee73b5e70e5726914197d2dec7f210a84ae49e8498a7::" providerId="AD" clId="Web-{7DE86EE7-F10F-40AE-DB63-712D965BE480}" dt="2022-04-04T00:36:08.337" v="434" actId="14100"/>
          <ac:spMkLst>
            <pc:docMk/>
            <pc:sldMk cId="1695560817" sldId="366"/>
            <ac:spMk id="78" creationId="{85AA2B18-4964-80D8-597C-B2C0E4AC1A9F}"/>
          </ac:spMkLst>
        </pc:spChg>
        <pc:spChg chg="mod">
          <ac:chgData name="Guest User" userId="S::urn:spo:anon#c437c167f923f422528aee73b5e70e5726914197d2dec7f210a84ae49e8498a7::" providerId="AD" clId="Web-{7DE86EE7-F10F-40AE-DB63-712D965BE480}" dt="2022-04-04T00:32:59.614" v="395" actId="1076"/>
          <ac:spMkLst>
            <pc:docMk/>
            <pc:sldMk cId="1695560817" sldId="366"/>
            <ac:spMk id="82" creationId="{80579DE7-72B2-533E-1105-2A45C4F95512}"/>
          </ac:spMkLst>
        </pc:spChg>
        <pc:picChg chg="mod">
          <ac:chgData name="Guest User" userId="S::urn:spo:anon#c437c167f923f422528aee73b5e70e5726914197d2dec7f210a84ae49e8498a7::" providerId="AD" clId="Web-{7DE86EE7-F10F-40AE-DB63-712D965BE480}" dt="2022-04-04T00:20:19.578" v="324" actId="1076"/>
          <ac:picMkLst>
            <pc:docMk/>
            <pc:sldMk cId="1695560817" sldId="366"/>
            <ac:picMk id="48" creationId="{247921FD-8C4D-E554-1B1D-CACD41AF4EB2}"/>
          </ac:picMkLst>
        </pc:picChg>
        <pc:picChg chg="mod">
          <ac:chgData name="Guest User" userId="S::urn:spo:anon#c437c167f923f422528aee73b5e70e5726914197d2dec7f210a84ae49e8498a7::" providerId="AD" clId="Web-{7DE86EE7-F10F-40AE-DB63-712D965BE480}" dt="2022-04-04T00:19:30.092" v="320" actId="1076"/>
          <ac:picMkLst>
            <pc:docMk/>
            <pc:sldMk cId="1695560817" sldId="366"/>
            <ac:picMk id="100" creationId="{7C55F817-7127-B9AD-8941-666334782182}"/>
          </ac:picMkLst>
        </pc:picChg>
        <pc:cxnChg chg="mod">
          <ac:chgData name="Guest User" userId="S::urn:spo:anon#c437c167f923f422528aee73b5e70e5726914197d2dec7f210a84ae49e8498a7::" providerId="AD" clId="Web-{7DE86EE7-F10F-40AE-DB63-712D965BE480}" dt="2022-04-04T00:19:41.342" v="322" actId="1076"/>
          <ac:cxnSpMkLst>
            <pc:docMk/>
            <pc:sldMk cId="1695560817" sldId="366"/>
            <ac:cxnSpMk id="70" creationId="{36AB945C-B067-EFEB-F8C0-06799B81FEEF}"/>
          </ac:cxnSpMkLst>
        </pc:cxnChg>
        <pc:cxnChg chg="mod">
          <ac:chgData name="Guest User" userId="S::urn:spo:anon#c437c167f923f422528aee73b5e70e5726914197d2dec7f210a84ae49e8498a7::" providerId="AD" clId="Web-{7DE86EE7-F10F-40AE-DB63-712D965BE480}" dt="2022-04-04T00:25:43.274" v="335" actId="1076"/>
          <ac:cxnSpMkLst>
            <pc:docMk/>
            <pc:sldMk cId="1695560817" sldId="366"/>
            <ac:cxnSpMk id="163" creationId="{239D5AB9-9EAB-07FA-6DAA-29766725F05B}"/>
          </ac:cxnSpMkLst>
        </pc:cxnChg>
      </pc:sldChg>
      <pc:sldChg chg="addSp modSp">
        <pc:chgData name="Guest User" userId="S::urn:spo:anon#c437c167f923f422528aee73b5e70e5726914197d2dec7f210a84ae49e8498a7::" providerId="AD" clId="Web-{7DE86EE7-F10F-40AE-DB63-712D965BE480}" dt="2022-04-04T00:03:41.223" v="197" actId="1076"/>
        <pc:sldMkLst>
          <pc:docMk/>
          <pc:sldMk cId="3514561185" sldId="374"/>
        </pc:sldMkLst>
        <pc:spChg chg="mod">
          <ac:chgData name="Guest User" userId="S::urn:spo:anon#c437c167f923f422528aee73b5e70e5726914197d2dec7f210a84ae49e8498a7::" providerId="AD" clId="Web-{7DE86EE7-F10F-40AE-DB63-712D965BE480}" dt="2022-04-04T00:03:41.223" v="197" actId="1076"/>
          <ac:spMkLst>
            <pc:docMk/>
            <pc:sldMk cId="3514561185" sldId="374"/>
            <ac:spMk id="2" creationId="{06BE3DF2-FF5A-32FB-904D-F3B56CDAAEDC}"/>
          </ac:spMkLst>
        </pc:spChg>
        <pc:spChg chg="mod">
          <ac:chgData name="Guest User" userId="S::urn:spo:anon#c437c167f923f422528aee73b5e70e5726914197d2dec7f210a84ae49e8498a7::" providerId="AD" clId="Web-{7DE86EE7-F10F-40AE-DB63-712D965BE480}" dt="2022-04-03T23:34:39.086" v="76" actId="1076"/>
          <ac:spMkLst>
            <pc:docMk/>
            <pc:sldMk cId="3514561185" sldId="374"/>
            <ac:spMk id="11" creationId="{A9B97C9C-0C93-045F-4501-F39E80FF554F}"/>
          </ac:spMkLst>
        </pc:spChg>
        <pc:spChg chg="mod">
          <ac:chgData name="Guest User" userId="S::urn:spo:anon#c437c167f923f422528aee73b5e70e5726914197d2dec7f210a84ae49e8498a7::" providerId="AD" clId="Web-{7DE86EE7-F10F-40AE-DB63-712D965BE480}" dt="2022-04-04T00:02:15.908" v="188" actId="20577"/>
          <ac:spMkLst>
            <pc:docMk/>
            <pc:sldMk cId="3514561185" sldId="374"/>
            <ac:spMk id="331" creationId="{00000000-0000-0000-0000-000000000000}"/>
          </ac:spMkLst>
        </pc:spChg>
        <pc:picChg chg="add mod">
          <ac:chgData name="Guest User" userId="S::urn:spo:anon#c437c167f923f422528aee73b5e70e5726914197d2dec7f210a84ae49e8498a7::" providerId="AD" clId="Web-{7DE86EE7-F10F-40AE-DB63-712D965BE480}" dt="2022-04-04T00:03:33.254" v="196" actId="1076"/>
          <ac:picMkLst>
            <pc:docMk/>
            <pc:sldMk cId="3514561185" sldId="374"/>
            <ac:picMk id="5" creationId="{9166FA4B-85C9-5893-22DC-EC6CE43E7204}"/>
          </ac:picMkLst>
        </pc:picChg>
      </pc:sldChg>
      <pc:sldChg chg="addSp modSp">
        <pc:chgData name="Guest User" userId="S::urn:spo:anon#c437c167f923f422528aee73b5e70e5726914197d2dec7f210a84ae49e8498a7::" providerId="AD" clId="Web-{7DE86EE7-F10F-40AE-DB63-712D965BE480}" dt="2022-04-04T01:36:32.173" v="546" actId="20577"/>
        <pc:sldMkLst>
          <pc:docMk/>
          <pc:sldMk cId="604654217" sldId="375"/>
        </pc:sldMkLst>
        <pc:spChg chg="mod">
          <ac:chgData name="Guest User" userId="S::urn:spo:anon#c437c167f923f422528aee73b5e70e5726914197d2dec7f210a84ae49e8498a7::" providerId="AD" clId="Web-{7DE86EE7-F10F-40AE-DB63-712D965BE480}" dt="2022-04-04T01:36:32.173" v="546" actId="20577"/>
          <ac:spMkLst>
            <pc:docMk/>
            <pc:sldMk cId="604654217" sldId="375"/>
            <ac:spMk id="2" creationId="{AB52A157-2CB8-6DCB-8D3B-00713BF25DCA}"/>
          </ac:spMkLst>
        </pc:spChg>
        <pc:spChg chg="mod">
          <ac:chgData name="Guest User" userId="S::urn:spo:anon#c437c167f923f422528aee73b5e70e5726914197d2dec7f210a84ae49e8498a7::" providerId="AD" clId="Web-{7DE86EE7-F10F-40AE-DB63-712D965BE480}" dt="2022-04-04T01:35:46.218" v="544" actId="20577"/>
          <ac:spMkLst>
            <pc:docMk/>
            <pc:sldMk cId="604654217" sldId="375"/>
            <ac:spMk id="3" creationId="{346B9D98-5C00-250F-2E85-76FD3A920D22}"/>
          </ac:spMkLst>
        </pc:spChg>
        <pc:spChg chg="mod">
          <ac:chgData name="Guest User" userId="S::urn:spo:anon#c437c167f923f422528aee73b5e70e5726914197d2dec7f210a84ae49e8498a7::" providerId="AD" clId="Web-{7DE86EE7-F10F-40AE-DB63-712D965BE480}" dt="2022-04-04T01:24:59.042" v="483" actId="1076"/>
          <ac:spMkLst>
            <pc:docMk/>
            <pc:sldMk cId="604654217" sldId="375"/>
            <ac:spMk id="9" creationId="{A559BC09-4387-488E-85BC-CBE75B1CE17C}"/>
          </ac:spMkLst>
        </pc:spChg>
        <pc:picChg chg="add mod">
          <ac:chgData name="Guest User" userId="S::urn:spo:anon#c437c167f923f422528aee73b5e70e5726914197d2dec7f210a84ae49e8498a7::" providerId="AD" clId="Web-{7DE86EE7-F10F-40AE-DB63-712D965BE480}" dt="2022-04-04T01:23:48.352" v="482" actId="1076"/>
          <ac:picMkLst>
            <pc:docMk/>
            <pc:sldMk cId="604654217" sldId="375"/>
            <ac:picMk id="10" creationId="{D00B0523-674C-CC99-F2A4-607C8B5BBE87}"/>
          </ac:picMkLst>
        </pc:picChg>
        <pc:cxnChg chg="add mod">
          <ac:chgData name="Guest User" userId="S::urn:spo:anon#c437c167f923f422528aee73b5e70e5726914197d2dec7f210a84ae49e8498a7::" providerId="AD" clId="Web-{7DE86EE7-F10F-40AE-DB63-712D965BE480}" dt="2022-04-04T01:32:54.057" v="523" actId="1076"/>
          <ac:cxnSpMkLst>
            <pc:docMk/>
            <pc:sldMk cId="604654217" sldId="375"/>
            <ac:cxnSpMk id="11" creationId="{80DA06C6-E09C-08BC-D6FB-BC20D8957044}"/>
          </ac:cxnSpMkLst>
        </pc:cxnChg>
        <pc:cxnChg chg="add mod">
          <ac:chgData name="Guest User" userId="S::urn:spo:anon#c437c167f923f422528aee73b5e70e5726914197d2dec7f210a84ae49e8498a7::" providerId="AD" clId="Web-{7DE86EE7-F10F-40AE-DB63-712D965BE480}" dt="2022-04-04T01:33:07.932" v="526" actId="1076"/>
          <ac:cxnSpMkLst>
            <pc:docMk/>
            <pc:sldMk cId="604654217" sldId="375"/>
            <ac:cxnSpMk id="12" creationId="{77793D15-5876-2206-449B-4B1F41AFE012}"/>
          </ac:cxnSpMkLst>
        </pc:cxnChg>
        <pc:cxnChg chg="add mod">
          <ac:chgData name="Guest User" userId="S::urn:spo:anon#c437c167f923f422528aee73b5e70e5726914197d2dec7f210a84ae49e8498a7::" providerId="AD" clId="Web-{7DE86EE7-F10F-40AE-DB63-712D965BE480}" dt="2022-04-04T01:33:27.542" v="529" actId="1076"/>
          <ac:cxnSpMkLst>
            <pc:docMk/>
            <pc:sldMk cId="604654217" sldId="375"/>
            <ac:cxnSpMk id="13" creationId="{70D6C415-5AB0-50A0-6B7B-F91A78ED3D34}"/>
          </ac:cxnSpMkLst>
        </pc:cxnChg>
      </pc:sldChg>
    </pc:docChg>
  </pc:docChgLst>
  <pc:docChgLst>
    <pc:chgData name="Tami Corson" userId="17b03132-2f21-4edf-a2df-f25c30f43233" providerId="ADAL" clId="{6792B936-5997-41FF-9132-74CFA4A2F780}"/>
    <pc:docChg chg="undo redo custSel delSld modSld sldOrd">
      <pc:chgData name="Tami Corson" userId="17b03132-2f21-4edf-a2df-f25c30f43233" providerId="ADAL" clId="{6792B936-5997-41FF-9132-74CFA4A2F780}" dt="2022-03-24T19:24:09.878" v="4246" actId="33524"/>
      <pc:docMkLst>
        <pc:docMk/>
      </pc:docMkLst>
      <pc:sldChg chg="addSp delSp modSp mod">
        <pc:chgData name="Tami Corson" userId="17b03132-2f21-4edf-a2df-f25c30f43233" providerId="ADAL" clId="{6792B936-5997-41FF-9132-74CFA4A2F780}" dt="2022-03-21T19:19:48.331" v="243" actId="207"/>
        <pc:sldMkLst>
          <pc:docMk/>
          <pc:sldMk cId="0" sldId="257"/>
        </pc:sldMkLst>
        <pc:spChg chg="mod">
          <ac:chgData name="Tami Corson" userId="17b03132-2f21-4edf-a2df-f25c30f43233" providerId="ADAL" clId="{6792B936-5997-41FF-9132-74CFA4A2F780}" dt="2022-03-21T12:50:00.782" v="3" actId="207"/>
          <ac:spMkLst>
            <pc:docMk/>
            <pc:sldMk cId="0" sldId="257"/>
            <ac:spMk id="3" creationId="{39609F45-5196-405D-A25B-0B3CF8FD192A}"/>
          </ac:spMkLst>
        </pc:spChg>
        <pc:spChg chg="add mod">
          <ac:chgData name="Tami Corson" userId="17b03132-2f21-4edf-a2df-f25c30f43233" providerId="ADAL" clId="{6792B936-5997-41FF-9132-74CFA4A2F780}" dt="2022-03-21T19:19:48.331" v="243" actId="207"/>
          <ac:spMkLst>
            <pc:docMk/>
            <pc:sldMk cId="0" sldId="257"/>
            <ac:spMk id="8" creationId="{658FBB6F-FDD7-4B3F-BBC3-FB5A47C4D7BD}"/>
          </ac:spMkLst>
        </pc:spChg>
        <pc:spChg chg="del mod">
          <ac:chgData name="Tami Corson" userId="17b03132-2f21-4edf-a2df-f25c30f43233" providerId="ADAL" clId="{6792B936-5997-41FF-9132-74CFA4A2F780}" dt="2022-03-21T19:18:50.168" v="181" actId="478"/>
          <ac:spMkLst>
            <pc:docMk/>
            <pc:sldMk cId="0" sldId="257"/>
            <ac:spMk id="46" creationId="{4AA3E2F6-ED8E-4380-9FE0-BE167076C7B9}"/>
          </ac:spMkLst>
        </pc:spChg>
        <pc:spChg chg="mod">
          <ac:chgData name="Tami Corson" userId="17b03132-2f21-4edf-a2df-f25c30f43233" providerId="ADAL" clId="{6792B936-5997-41FF-9132-74CFA4A2F780}" dt="2022-03-21T12:50:11.811" v="4" actId="207"/>
          <ac:spMkLst>
            <pc:docMk/>
            <pc:sldMk cId="0" sldId="257"/>
            <ac:spMk id="47" creationId="{C5E20432-F495-4AE8-8931-143A4C1D3844}"/>
          </ac:spMkLst>
        </pc:spChg>
        <pc:spChg chg="add mod">
          <ac:chgData name="Tami Corson" userId="17b03132-2f21-4edf-a2df-f25c30f43233" providerId="ADAL" clId="{6792B936-5997-41FF-9132-74CFA4A2F780}" dt="2022-03-21T19:18:41.924" v="180" actId="1076"/>
          <ac:spMkLst>
            <pc:docMk/>
            <pc:sldMk cId="0" sldId="257"/>
            <ac:spMk id="52" creationId="{6C9D2FE4-3EA2-442C-939B-BC72E4710CD2}"/>
          </ac:spMkLst>
        </pc:spChg>
        <pc:spChg chg="mod">
          <ac:chgData name="Tami Corson" userId="17b03132-2f21-4edf-a2df-f25c30f43233" providerId="ADAL" clId="{6792B936-5997-41FF-9132-74CFA4A2F780}" dt="2022-03-21T12:47:55.272" v="1" actId="1076"/>
          <ac:spMkLst>
            <pc:docMk/>
            <pc:sldMk cId="0" sldId="257"/>
            <ac:spMk id="198" creationId="{00000000-0000-0000-0000-000000000000}"/>
          </ac:spMkLst>
        </pc:spChg>
        <pc:picChg chg="add mod modCrop">
          <ac:chgData name="Tami Corson" userId="17b03132-2f21-4edf-a2df-f25c30f43233" providerId="ADAL" clId="{6792B936-5997-41FF-9132-74CFA4A2F780}" dt="2022-03-21T19:17:33.698" v="150" actId="14100"/>
          <ac:picMkLst>
            <pc:docMk/>
            <pc:sldMk cId="0" sldId="257"/>
            <ac:picMk id="7" creationId="{95A77363-E608-4059-A435-11A522FD102A}"/>
          </ac:picMkLst>
        </pc:picChg>
      </pc:sldChg>
      <pc:sldChg chg="modSp mod">
        <pc:chgData name="Tami Corson" userId="17b03132-2f21-4edf-a2df-f25c30f43233" providerId="ADAL" clId="{6792B936-5997-41FF-9132-74CFA4A2F780}" dt="2022-03-21T12:52:33.694" v="10" actId="20577"/>
        <pc:sldMkLst>
          <pc:docMk/>
          <pc:sldMk cId="0" sldId="261"/>
        </pc:sldMkLst>
        <pc:spChg chg="mod">
          <ac:chgData name="Tami Corson" userId="17b03132-2f21-4edf-a2df-f25c30f43233" providerId="ADAL" clId="{6792B936-5997-41FF-9132-74CFA4A2F780}" dt="2022-03-21T12:52:33.694" v="10" actId="20577"/>
          <ac:spMkLst>
            <pc:docMk/>
            <pc:sldMk cId="0" sldId="261"/>
            <ac:spMk id="337" creationId="{00000000-0000-0000-0000-000000000000}"/>
          </ac:spMkLst>
        </pc:spChg>
      </pc:sldChg>
      <pc:sldChg chg="modSp mod">
        <pc:chgData name="Tami Corson" userId="17b03132-2f21-4edf-a2df-f25c30f43233" providerId="ADAL" clId="{6792B936-5997-41FF-9132-74CFA4A2F780}" dt="2022-03-22T15:22:56.576" v="2736" actId="207"/>
        <pc:sldMkLst>
          <pc:docMk/>
          <pc:sldMk cId="0" sldId="262"/>
        </pc:sldMkLst>
        <pc:spChg chg="mod">
          <ac:chgData name="Tami Corson" userId="17b03132-2f21-4edf-a2df-f25c30f43233" providerId="ADAL" clId="{6792B936-5997-41FF-9132-74CFA4A2F780}" dt="2022-03-22T15:22:56.576" v="2736" actId="207"/>
          <ac:spMkLst>
            <pc:docMk/>
            <pc:sldMk cId="0" sldId="262"/>
            <ac:spMk id="438" creationId="{00000000-0000-0000-0000-000000000000}"/>
          </ac:spMkLst>
        </pc:spChg>
      </pc:sldChg>
      <pc:sldChg chg="modSp mod">
        <pc:chgData name="Tami Corson" userId="17b03132-2f21-4edf-a2df-f25c30f43233" providerId="ADAL" clId="{6792B936-5997-41FF-9132-74CFA4A2F780}" dt="2022-03-24T18:06:01.922" v="4242" actId="6549"/>
        <pc:sldMkLst>
          <pc:docMk/>
          <pc:sldMk cId="0" sldId="264"/>
        </pc:sldMkLst>
        <pc:spChg chg="mod">
          <ac:chgData name="Tami Corson" userId="17b03132-2f21-4edf-a2df-f25c30f43233" providerId="ADAL" clId="{6792B936-5997-41FF-9132-74CFA4A2F780}" dt="2022-03-21T19:21:22.523" v="244" actId="207"/>
          <ac:spMkLst>
            <pc:docMk/>
            <pc:sldMk cId="0" sldId="264"/>
            <ac:spMk id="29" creationId="{CE4534C1-122C-4584-960F-B0117C9A488A}"/>
          </ac:spMkLst>
        </pc:spChg>
        <pc:spChg chg="mod">
          <ac:chgData name="Tami Corson" userId="17b03132-2f21-4edf-a2df-f25c30f43233" providerId="ADAL" clId="{6792B936-5997-41FF-9132-74CFA4A2F780}" dt="2022-03-24T18:06:01.922" v="4242" actId="6549"/>
          <ac:spMkLst>
            <pc:docMk/>
            <pc:sldMk cId="0" sldId="264"/>
            <ac:spMk id="472" creationId="{00000000-0000-0000-0000-000000000000}"/>
          </ac:spMkLst>
        </pc:spChg>
      </pc:sldChg>
      <pc:sldChg chg="delSp modSp mod">
        <pc:chgData name="Tami Corson" userId="17b03132-2f21-4edf-a2df-f25c30f43233" providerId="ADAL" clId="{6792B936-5997-41FF-9132-74CFA4A2F780}" dt="2022-03-22T15:37:28.150" v="3392" actId="1076"/>
        <pc:sldMkLst>
          <pc:docMk/>
          <pc:sldMk cId="0" sldId="269"/>
        </pc:sldMkLst>
        <pc:spChg chg="del">
          <ac:chgData name="Tami Corson" userId="17b03132-2f21-4edf-a2df-f25c30f43233" providerId="ADAL" clId="{6792B936-5997-41FF-9132-74CFA4A2F780}" dt="2022-03-21T23:37:16.456" v="1292" actId="478"/>
          <ac:spMkLst>
            <pc:docMk/>
            <pc:sldMk cId="0" sldId="269"/>
            <ac:spMk id="13" creationId="{81906317-FB50-4C44-83DD-8262AE251781}"/>
          </ac:spMkLst>
        </pc:spChg>
        <pc:spChg chg="del">
          <ac:chgData name="Tami Corson" userId="17b03132-2f21-4edf-a2df-f25c30f43233" providerId="ADAL" clId="{6792B936-5997-41FF-9132-74CFA4A2F780}" dt="2022-03-22T15:28:23.770" v="2756" actId="478"/>
          <ac:spMkLst>
            <pc:docMk/>
            <pc:sldMk cId="0" sldId="269"/>
            <ac:spMk id="16" creationId="{F29BBF2D-5F15-45EC-BE2A-14ABF1E18DB5}"/>
          </ac:spMkLst>
        </pc:spChg>
        <pc:spChg chg="mod">
          <ac:chgData name="Tami Corson" userId="17b03132-2f21-4edf-a2df-f25c30f43233" providerId="ADAL" clId="{6792B936-5997-41FF-9132-74CFA4A2F780}" dt="2022-03-22T15:32:01.321" v="3343" actId="20577"/>
          <ac:spMkLst>
            <pc:docMk/>
            <pc:sldMk cId="0" sldId="269"/>
            <ac:spMk id="605" creationId="{00000000-0000-0000-0000-000000000000}"/>
          </ac:spMkLst>
        </pc:spChg>
        <pc:spChg chg="mod">
          <ac:chgData name="Tami Corson" userId="17b03132-2f21-4edf-a2df-f25c30f43233" providerId="ADAL" clId="{6792B936-5997-41FF-9132-74CFA4A2F780}" dt="2022-03-22T15:36:42.028" v="3389" actId="14100"/>
          <ac:spMkLst>
            <pc:docMk/>
            <pc:sldMk cId="0" sldId="269"/>
            <ac:spMk id="609" creationId="{00000000-0000-0000-0000-000000000000}"/>
          </ac:spMkLst>
        </pc:spChg>
        <pc:picChg chg="mod">
          <ac:chgData name="Tami Corson" userId="17b03132-2f21-4edf-a2df-f25c30f43233" providerId="ADAL" clId="{6792B936-5997-41FF-9132-74CFA4A2F780}" dt="2022-03-22T15:28:56.031" v="2761" actId="1076"/>
          <ac:picMkLst>
            <pc:docMk/>
            <pc:sldMk cId="0" sldId="269"/>
            <ac:picMk id="4" creationId="{A3DE1E23-4D91-4A14-B3F7-C67C5D0DD7A5}"/>
          </ac:picMkLst>
        </pc:picChg>
        <pc:picChg chg="mod">
          <ac:chgData name="Tami Corson" userId="17b03132-2f21-4edf-a2df-f25c30f43233" providerId="ADAL" clId="{6792B936-5997-41FF-9132-74CFA4A2F780}" dt="2022-03-22T15:37:21.564" v="3391" actId="12788"/>
          <ac:picMkLst>
            <pc:docMk/>
            <pc:sldMk cId="0" sldId="269"/>
            <ac:picMk id="5" creationId="{9E943CF7-D578-4861-B11C-4ED484043137}"/>
          </ac:picMkLst>
        </pc:picChg>
        <pc:picChg chg="mod">
          <ac:chgData name="Tami Corson" userId="17b03132-2f21-4edf-a2df-f25c30f43233" providerId="ADAL" clId="{6792B936-5997-41FF-9132-74CFA4A2F780}" dt="2022-03-22T15:37:28.150" v="3392" actId="1076"/>
          <ac:picMkLst>
            <pc:docMk/>
            <pc:sldMk cId="0" sldId="269"/>
            <ac:picMk id="6" creationId="{7320460E-7625-44AD-8A44-09D8797A39CC}"/>
          </ac:picMkLst>
        </pc:picChg>
      </pc:sldChg>
      <pc:sldChg chg="addSp delSp modSp mod">
        <pc:chgData name="Tami Corson" userId="17b03132-2f21-4edf-a2df-f25c30f43233" providerId="ADAL" clId="{6792B936-5997-41FF-9132-74CFA4A2F780}" dt="2022-03-24T18:08:24.190" v="4243" actId="22"/>
        <pc:sldMkLst>
          <pc:docMk/>
          <pc:sldMk cId="0" sldId="275"/>
        </pc:sldMkLst>
        <pc:spChg chg="del">
          <ac:chgData name="Tami Corson" userId="17b03132-2f21-4edf-a2df-f25c30f43233" providerId="ADAL" clId="{6792B936-5997-41FF-9132-74CFA4A2F780}" dt="2022-03-22T15:39:11.071" v="3411" actId="478"/>
          <ac:spMkLst>
            <pc:docMk/>
            <pc:sldMk cId="0" sldId="275"/>
            <ac:spMk id="5" creationId="{86737F5C-5575-427C-908C-240C97E11A51}"/>
          </ac:spMkLst>
        </pc:spChg>
        <pc:spChg chg="del mod">
          <ac:chgData name="Tami Corson" userId="17b03132-2f21-4edf-a2df-f25c30f43233" providerId="ADAL" clId="{6792B936-5997-41FF-9132-74CFA4A2F780}" dt="2022-03-21T19:48:06.009" v="546" actId="478"/>
          <ac:spMkLst>
            <pc:docMk/>
            <pc:sldMk cId="0" sldId="275"/>
            <ac:spMk id="9" creationId="{62209AC9-A92B-46EE-BFDE-FF26E2745235}"/>
          </ac:spMkLst>
        </pc:spChg>
        <pc:spChg chg="add">
          <ac:chgData name="Tami Corson" userId="17b03132-2f21-4edf-a2df-f25c30f43233" providerId="ADAL" clId="{6792B936-5997-41FF-9132-74CFA4A2F780}" dt="2022-03-24T18:08:24.190" v="4243" actId="22"/>
          <ac:spMkLst>
            <pc:docMk/>
            <pc:sldMk cId="0" sldId="275"/>
            <ac:spMk id="9" creationId="{89461D6D-F79F-4EDF-961F-0584EC3D92D7}"/>
          </ac:spMkLst>
        </pc:spChg>
        <pc:spChg chg="mod">
          <ac:chgData name="Tami Corson" userId="17b03132-2f21-4edf-a2df-f25c30f43233" providerId="ADAL" clId="{6792B936-5997-41FF-9132-74CFA4A2F780}" dt="2022-03-21T19:48:09.052" v="548" actId="20577"/>
          <ac:spMkLst>
            <pc:docMk/>
            <pc:sldMk cId="0" sldId="275"/>
            <ac:spMk id="692" creationId="{00000000-0000-0000-0000-000000000000}"/>
          </ac:spMkLst>
        </pc:spChg>
        <pc:graphicFrameChg chg="mod modGraphic">
          <ac:chgData name="Tami Corson" userId="17b03132-2f21-4edf-a2df-f25c30f43233" providerId="ADAL" clId="{6792B936-5997-41FF-9132-74CFA4A2F780}" dt="2022-03-22T15:40:09.316" v="3412" actId="3626"/>
          <ac:graphicFrameMkLst>
            <pc:docMk/>
            <pc:sldMk cId="0" sldId="275"/>
            <ac:graphicFrameMk id="694" creationId="{00000000-0000-0000-0000-000000000000}"/>
          </ac:graphicFrameMkLst>
        </pc:graphicFrameChg>
      </pc:sldChg>
      <pc:sldChg chg="addSp delSp modSp mod">
        <pc:chgData name="Tami Corson" userId="17b03132-2f21-4edf-a2df-f25c30f43233" providerId="ADAL" clId="{6792B936-5997-41FF-9132-74CFA4A2F780}" dt="2022-03-24T18:08:40.709" v="4245" actId="22"/>
        <pc:sldMkLst>
          <pc:docMk/>
          <pc:sldMk cId="0" sldId="280"/>
        </pc:sldMkLst>
        <pc:spChg chg="add mod">
          <ac:chgData name="Tami Corson" userId="17b03132-2f21-4edf-a2df-f25c30f43233" providerId="ADAL" clId="{6792B936-5997-41FF-9132-74CFA4A2F780}" dt="2022-03-21T19:59:49.548" v="693" actId="20577"/>
          <ac:spMkLst>
            <pc:docMk/>
            <pc:sldMk cId="0" sldId="280"/>
            <ac:spMk id="2" creationId="{54A056D4-C1E2-49A0-BC07-61F24B2B511D}"/>
          </ac:spMkLst>
        </pc:spChg>
        <pc:spChg chg="add del mod">
          <ac:chgData name="Tami Corson" userId="17b03132-2f21-4edf-a2df-f25c30f43233" providerId="ADAL" clId="{6792B936-5997-41FF-9132-74CFA4A2F780}" dt="2022-03-22T16:41:45.995" v="4105" actId="478"/>
          <ac:spMkLst>
            <pc:docMk/>
            <pc:sldMk cId="0" sldId="280"/>
            <ac:spMk id="6" creationId="{6A68D443-75E1-4EF8-BC52-690836319788}"/>
          </ac:spMkLst>
        </pc:spChg>
        <pc:spChg chg="add del">
          <ac:chgData name="Tami Corson" userId="17b03132-2f21-4edf-a2df-f25c30f43233" providerId="ADAL" clId="{6792B936-5997-41FF-9132-74CFA4A2F780}" dt="2022-03-24T18:08:40.709" v="4245" actId="22"/>
          <ac:spMkLst>
            <pc:docMk/>
            <pc:sldMk cId="0" sldId="280"/>
            <ac:spMk id="11" creationId="{9BAC9687-F00E-4C31-803F-A5E9A29E57C6}"/>
          </ac:spMkLst>
        </pc:spChg>
        <pc:spChg chg="mod ord">
          <ac:chgData name="Tami Corson" userId="17b03132-2f21-4edf-a2df-f25c30f43233" providerId="ADAL" clId="{6792B936-5997-41FF-9132-74CFA4A2F780}" dt="2022-03-22T17:48:19.769" v="4238" actId="1076"/>
          <ac:spMkLst>
            <pc:docMk/>
            <pc:sldMk cId="0" sldId="280"/>
            <ac:spMk id="863" creationId="{00000000-0000-0000-0000-000000000000}"/>
          </ac:spMkLst>
        </pc:spChg>
        <pc:spChg chg="mod">
          <ac:chgData name="Tami Corson" userId="17b03132-2f21-4edf-a2df-f25c30f43233" providerId="ADAL" clId="{6792B936-5997-41FF-9132-74CFA4A2F780}" dt="2022-03-22T17:48:08.582" v="4235" actId="1076"/>
          <ac:spMkLst>
            <pc:docMk/>
            <pc:sldMk cId="0" sldId="280"/>
            <ac:spMk id="865" creationId="{00000000-0000-0000-0000-000000000000}"/>
          </ac:spMkLst>
        </pc:spChg>
        <pc:graphicFrameChg chg="modGraphic">
          <ac:chgData name="Tami Corson" userId="17b03132-2f21-4edf-a2df-f25c30f43233" providerId="ADAL" clId="{6792B936-5997-41FF-9132-74CFA4A2F780}" dt="2022-03-22T17:47:00.493" v="4225" actId="6549"/>
          <ac:graphicFrameMkLst>
            <pc:docMk/>
            <pc:sldMk cId="0" sldId="280"/>
            <ac:graphicFrameMk id="858" creationId="{00000000-0000-0000-0000-000000000000}"/>
          </ac:graphicFrameMkLst>
        </pc:graphicFrameChg>
        <pc:picChg chg="add del mod">
          <ac:chgData name="Tami Corson" userId="17b03132-2f21-4edf-a2df-f25c30f43233" providerId="ADAL" clId="{6792B936-5997-41FF-9132-74CFA4A2F780}" dt="2022-03-22T17:47:30.105" v="4226" actId="478"/>
          <ac:picMkLst>
            <pc:docMk/>
            <pc:sldMk cId="0" sldId="280"/>
            <ac:picMk id="3" creationId="{F35E6470-6E57-46D1-A1E3-E4A3A519E983}"/>
          </ac:picMkLst>
        </pc:picChg>
        <pc:picChg chg="add mod">
          <ac:chgData name="Tami Corson" userId="17b03132-2f21-4edf-a2df-f25c30f43233" providerId="ADAL" clId="{6792B936-5997-41FF-9132-74CFA4A2F780}" dt="2022-03-22T17:48:00.486" v="4231" actId="14100"/>
          <ac:picMkLst>
            <pc:docMk/>
            <pc:sldMk cId="0" sldId="280"/>
            <ac:picMk id="4" creationId="{CD1668F7-949E-4C30-A027-3AAFA2D68AA5}"/>
          </ac:picMkLst>
        </pc:picChg>
        <pc:picChg chg="del">
          <ac:chgData name="Tami Corson" userId="17b03132-2f21-4edf-a2df-f25c30f43233" providerId="ADAL" clId="{6792B936-5997-41FF-9132-74CFA4A2F780}" dt="2022-03-21T19:57:30.208" v="579" actId="478"/>
          <ac:picMkLst>
            <pc:docMk/>
            <pc:sldMk cId="0" sldId="280"/>
            <ac:picMk id="4" creationId="{D8980697-1456-4E44-A5C1-4E8BA3F73404}"/>
          </ac:picMkLst>
        </pc:picChg>
        <pc:picChg chg="add del mod">
          <ac:chgData name="Tami Corson" userId="17b03132-2f21-4edf-a2df-f25c30f43233" providerId="ADAL" clId="{6792B936-5997-41FF-9132-74CFA4A2F780}" dt="2022-03-22T14:25:36.136" v="1802" actId="478"/>
          <ac:picMkLst>
            <pc:docMk/>
            <pc:sldMk cId="0" sldId="280"/>
            <ac:picMk id="5" creationId="{1682F6BE-407C-4914-A552-918A32E41956}"/>
          </ac:picMkLst>
        </pc:picChg>
        <pc:cxnChg chg="mod ord">
          <ac:chgData name="Tami Corson" userId="17b03132-2f21-4edf-a2df-f25c30f43233" providerId="ADAL" clId="{6792B936-5997-41FF-9132-74CFA4A2F780}" dt="2022-03-22T17:48:29.863" v="4241" actId="14100"/>
          <ac:cxnSpMkLst>
            <pc:docMk/>
            <pc:sldMk cId="0" sldId="280"/>
            <ac:cxnSpMk id="864" creationId="{00000000-0000-0000-0000-000000000000}"/>
          </ac:cxnSpMkLst>
        </pc:cxnChg>
      </pc:sldChg>
      <pc:sldChg chg="modSp mod ord">
        <pc:chgData name="Tami Corson" userId="17b03132-2f21-4edf-a2df-f25c30f43233" providerId="ADAL" clId="{6792B936-5997-41FF-9132-74CFA4A2F780}" dt="2022-03-22T16:19:44.845" v="4098" actId="6549"/>
        <pc:sldMkLst>
          <pc:docMk/>
          <pc:sldMk cId="3210015788" sldId="303"/>
        </pc:sldMkLst>
        <pc:spChg chg="mod">
          <ac:chgData name="Tami Corson" userId="17b03132-2f21-4edf-a2df-f25c30f43233" providerId="ADAL" clId="{6792B936-5997-41FF-9132-74CFA4A2F780}" dt="2022-03-22T16:19:44.845" v="4098" actId="6549"/>
          <ac:spMkLst>
            <pc:docMk/>
            <pc:sldMk cId="3210015788" sldId="303"/>
            <ac:spMk id="482" creationId="{00000000-0000-0000-0000-000000000000}"/>
          </ac:spMkLst>
        </pc:spChg>
        <pc:grpChg chg="mod">
          <ac:chgData name="Tami Corson" userId="17b03132-2f21-4edf-a2df-f25c30f43233" providerId="ADAL" clId="{6792B936-5997-41FF-9132-74CFA4A2F780}" dt="2022-03-22T15:26:36.623" v="2749" actId="1076"/>
          <ac:grpSpMkLst>
            <pc:docMk/>
            <pc:sldMk cId="3210015788" sldId="303"/>
            <ac:grpSpMk id="4" creationId="{AB31B214-37A4-4CE0-A956-87A5196939D4}"/>
          </ac:grpSpMkLst>
        </pc:grpChg>
        <pc:cxnChg chg="mod">
          <ac:chgData name="Tami Corson" userId="17b03132-2f21-4edf-a2df-f25c30f43233" providerId="ADAL" clId="{6792B936-5997-41FF-9132-74CFA4A2F780}" dt="2022-03-22T15:26:09.054" v="2747" actId="1076"/>
          <ac:cxnSpMkLst>
            <pc:docMk/>
            <pc:sldMk cId="3210015788" sldId="303"/>
            <ac:cxnSpMk id="36" creationId="{EAECDCBB-3819-4FCD-A496-F9491BDFD89C}"/>
          </ac:cxnSpMkLst>
        </pc:cxnChg>
      </pc:sldChg>
      <pc:sldChg chg="modSp mod">
        <pc:chgData name="Tami Corson" userId="17b03132-2f21-4edf-a2df-f25c30f43233" providerId="ADAL" clId="{6792B936-5997-41FF-9132-74CFA4A2F780}" dt="2022-03-22T14:58:19.804" v="2660" actId="27107"/>
        <pc:sldMkLst>
          <pc:docMk/>
          <pc:sldMk cId="1756389301" sldId="323"/>
        </pc:sldMkLst>
        <pc:spChg chg="mod">
          <ac:chgData name="Tami Corson" userId="17b03132-2f21-4edf-a2df-f25c30f43233" providerId="ADAL" clId="{6792B936-5997-41FF-9132-74CFA4A2F780}" dt="2022-03-22T14:58:19.804" v="2660" actId="27107"/>
          <ac:spMkLst>
            <pc:docMk/>
            <pc:sldMk cId="1756389301" sldId="323"/>
            <ac:spMk id="14" creationId="{D5AFD166-FDA5-49D0-9503-A4D355EE3E78}"/>
          </ac:spMkLst>
        </pc:spChg>
        <pc:spChg chg="mod">
          <ac:chgData name="Tami Corson" userId="17b03132-2f21-4edf-a2df-f25c30f43233" providerId="ADAL" clId="{6792B936-5997-41FF-9132-74CFA4A2F780}" dt="2022-03-22T14:56:31.762" v="2593" actId="14100"/>
          <ac:spMkLst>
            <pc:docMk/>
            <pc:sldMk cId="1756389301" sldId="323"/>
            <ac:spMk id="15" creationId="{9C4A17CE-EF6F-4ED7-ADC1-9CEE9825B750}"/>
          </ac:spMkLst>
        </pc:spChg>
        <pc:picChg chg="mod">
          <ac:chgData name="Tami Corson" userId="17b03132-2f21-4edf-a2df-f25c30f43233" providerId="ADAL" clId="{6792B936-5997-41FF-9132-74CFA4A2F780}" dt="2022-03-22T14:56:06.399" v="2590" actId="14100"/>
          <ac:picMkLst>
            <pc:docMk/>
            <pc:sldMk cId="1756389301" sldId="323"/>
            <ac:picMk id="2" creationId="{06FB615F-F8A3-43BA-A287-B8535775C676}"/>
          </ac:picMkLst>
        </pc:picChg>
      </pc:sldChg>
      <pc:sldChg chg="delSp modSp mod">
        <pc:chgData name="Tami Corson" userId="17b03132-2f21-4edf-a2df-f25c30f43233" providerId="ADAL" clId="{6792B936-5997-41FF-9132-74CFA4A2F780}" dt="2022-03-24T19:24:09.878" v="4246" actId="33524"/>
        <pc:sldMkLst>
          <pc:docMk/>
          <pc:sldMk cId="1295029711" sldId="333"/>
        </pc:sldMkLst>
        <pc:spChg chg="del mod">
          <ac:chgData name="Tami Corson" userId="17b03132-2f21-4edf-a2df-f25c30f43233" providerId="ADAL" clId="{6792B936-5997-41FF-9132-74CFA4A2F780}" dt="2022-03-21T19:48:01.417" v="545" actId="478"/>
          <ac:spMkLst>
            <pc:docMk/>
            <pc:sldMk cId="1295029711" sldId="333"/>
            <ac:spMk id="2" creationId="{7DCF3F38-3124-4010-AD9F-01F477057DA3}"/>
          </ac:spMkLst>
        </pc:spChg>
        <pc:spChg chg="del mod">
          <ac:chgData name="Tami Corson" userId="17b03132-2f21-4edf-a2df-f25c30f43233" providerId="ADAL" clId="{6792B936-5997-41FF-9132-74CFA4A2F780}" dt="2022-03-22T15:41:35.782" v="3416" actId="478"/>
          <ac:spMkLst>
            <pc:docMk/>
            <pc:sldMk cId="1295029711" sldId="333"/>
            <ac:spMk id="2" creationId="{F15F5792-AE24-4CF0-943E-33962B778326}"/>
          </ac:spMkLst>
        </pc:spChg>
        <pc:spChg chg="mod">
          <ac:chgData name="Tami Corson" userId="17b03132-2f21-4edf-a2df-f25c30f43233" providerId="ADAL" clId="{6792B936-5997-41FF-9132-74CFA4A2F780}" dt="2022-03-21T19:48:13.001" v="550" actId="20577"/>
          <ac:spMkLst>
            <pc:docMk/>
            <pc:sldMk cId="1295029711" sldId="333"/>
            <ac:spMk id="692" creationId="{00000000-0000-0000-0000-000000000000}"/>
          </ac:spMkLst>
        </pc:spChg>
        <pc:graphicFrameChg chg="mod modGraphic">
          <ac:chgData name="Tami Corson" userId="17b03132-2f21-4edf-a2df-f25c30f43233" providerId="ADAL" clId="{6792B936-5997-41FF-9132-74CFA4A2F780}" dt="2022-03-24T19:24:09.878" v="4246" actId="33524"/>
          <ac:graphicFrameMkLst>
            <pc:docMk/>
            <pc:sldMk cId="1295029711" sldId="333"/>
            <ac:graphicFrameMk id="694" creationId="{00000000-0000-0000-0000-000000000000}"/>
          </ac:graphicFrameMkLst>
        </pc:graphicFrameChg>
      </pc:sldChg>
      <pc:sldChg chg="delSp modSp mod">
        <pc:chgData name="Tami Corson" userId="17b03132-2f21-4edf-a2df-f25c30f43233" providerId="ADAL" clId="{6792B936-5997-41FF-9132-74CFA4A2F780}" dt="2022-03-21T23:34:23.802" v="1291" actId="20577"/>
        <pc:sldMkLst>
          <pc:docMk/>
          <pc:sldMk cId="130301299" sldId="334"/>
        </pc:sldMkLst>
        <pc:spChg chg="del mod">
          <ac:chgData name="Tami Corson" userId="17b03132-2f21-4edf-a2df-f25c30f43233" providerId="ADAL" clId="{6792B936-5997-41FF-9132-74CFA4A2F780}" dt="2022-03-21T19:47:54.463" v="543" actId="478"/>
          <ac:spMkLst>
            <pc:docMk/>
            <pc:sldMk cId="130301299" sldId="334"/>
            <ac:spMk id="2" creationId="{72DDF4E4-31DF-4AB2-BDF7-D329DFDF1223}"/>
          </ac:spMkLst>
        </pc:spChg>
        <pc:spChg chg="del">
          <ac:chgData name="Tami Corson" userId="17b03132-2f21-4edf-a2df-f25c30f43233" providerId="ADAL" clId="{6792B936-5997-41FF-9132-74CFA4A2F780}" dt="2022-03-21T19:36:49.163" v="463" actId="478"/>
          <ac:spMkLst>
            <pc:docMk/>
            <pc:sldMk cId="130301299" sldId="334"/>
            <ac:spMk id="8" creationId="{A6E84166-6DB5-4513-B3ED-5B1707F10F5F}"/>
          </ac:spMkLst>
        </pc:spChg>
        <pc:spChg chg="mod">
          <ac:chgData name="Tami Corson" userId="17b03132-2f21-4edf-a2df-f25c30f43233" providerId="ADAL" clId="{6792B936-5997-41FF-9132-74CFA4A2F780}" dt="2022-03-21T19:48:18.579" v="552" actId="20577"/>
          <ac:spMkLst>
            <pc:docMk/>
            <pc:sldMk cId="130301299" sldId="334"/>
            <ac:spMk id="692" creationId="{00000000-0000-0000-0000-000000000000}"/>
          </ac:spMkLst>
        </pc:spChg>
        <pc:graphicFrameChg chg="mod modGraphic">
          <ac:chgData name="Tami Corson" userId="17b03132-2f21-4edf-a2df-f25c30f43233" providerId="ADAL" clId="{6792B936-5997-41FF-9132-74CFA4A2F780}" dt="2022-03-21T23:34:23.802" v="1291" actId="20577"/>
          <ac:graphicFrameMkLst>
            <pc:docMk/>
            <pc:sldMk cId="130301299" sldId="334"/>
            <ac:graphicFrameMk id="694" creationId="{00000000-0000-0000-0000-000000000000}"/>
          </ac:graphicFrameMkLst>
        </pc:graphicFrameChg>
      </pc:sldChg>
      <pc:sldChg chg="modSp del mod">
        <pc:chgData name="Tami Corson" userId="17b03132-2f21-4edf-a2df-f25c30f43233" providerId="ADAL" clId="{6792B936-5997-41FF-9132-74CFA4A2F780}" dt="2022-03-21T19:47:47.811" v="542" actId="47"/>
        <pc:sldMkLst>
          <pc:docMk/>
          <pc:sldMk cId="1764704405" sldId="335"/>
        </pc:sldMkLst>
        <pc:spChg chg="mod">
          <ac:chgData name="Tami Corson" userId="17b03132-2f21-4edf-a2df-f25c30f43233" providerId="ADAL" clId="{6792B936-5997-41FF-9132-74CFA4A2F780}" dt="2022-03-21T15:45:32.390" v="131" actId="20577"/>
          <ac:spMkLst>
            <pc:docMk/>
            <pc:sldMk cId="1764704405" sldId="335"/>
            <ac:spMk id="2" creationId="{0DA4AF2B-8EB8-4E56-9DCF-A053516F6C14}"/>
          </ac:spMkLst>
        </pc:spChg>
        <pc:graphicFrameChg chg="modGraphic">
          <ac:chgData name="Tami Corson" userId="17b03132-2f21-4edf-a2df-f25c30f43233" providerId="ADAL" clId="{6792B936-5997-41FF-9132-74CFA4A2F780}" dt="2022-03-21T19:38:31.549" v="467" actId="6549"/>
          <ac:graphicFrameMkLst>
            <pc:docMk/>
            <pc:sldMk cId="1764704405" sldId="335"/>
            <ac:graphicFrameMk id="694" creationId="{00000000-0000-0000-0000-000000000000}"/>
          </ac:graphicFrameMkLst>
        </pc:graphicFrameChg>
      </pc:sldChg>
      <pc:sldChg chg="delSp modSp mod">
        <pc:chgData name="Tami Corson" userId="17b03132-2f21-4edf-a2df-f25c30f43233" providerId="ADAL" clId="{6792B936-5997-41FF-9132-74CFA4A2F780}" dt="2022-03-22T13:10:14.456" v="1332" actId="478"/>
        <pc:sldMkLst>
          <pc:docMk/>
          <pc:sldMk cId="3720673345" sldId="336"/>
        </pc:sldMkLst>
        <pc:spChg chg="del">
          <ac:chgData name="Tami Corson" userId="17b03132-2f21-4edf-a2df-f25c30f43233" providerId="ADAL" clId="{6792B936-5997-41FF-9132-74CFA4A2F780}" dt="2022-03-22T13:10:09.013" v="1331" actId="478"/>
          <ac:spMkLst>
            <pc:docMk/>
            <pc:sldMk cId="3720673345" sldId="336"/>
            <ac:spMk id="18" creationId="{C5BCFE83-CBCC-4D51-BA66-8FF2BB039877}"/>
          </ac:spMkLst>
        </pc:spChg>
        <pc:spChg chg="del">
          <ac:chgData name="Tami Corson" userId="17b03132-2f21-4edf-a2df-f25c30f43233" providerId="ADAL" clId="{6792B936-5997-41FF-9132-74CFA4A2F780}" dt="2022-03-22T13:10:14.456" v="1332" actId="478"/>
          <ac:spMkLst>
            <pc:docMk/>
            <pc:sldMk cId="3720673345" sldId="336"/>
            <ac:spMk id="22" creationId="{2E0A430B-B95F-4458-B082-FFAE184EA847}"/>
          </ac:spMkLst>
        </pc:spChg>
        <pc:spChg chg="mod">
          <ac:chgData name="Tami Corson" userId="17b03132-2f21-4edf-a2df-f25c30f43233" providerId="ADAL" clId="{6792B936-5997-41FF-9132-74CFA4A2F780}" dt="2022-03-21T21:43:13.181" v="696" actId="6549"/>
          <ac:spMkLst>
            <pc:docMk/>
            <pc:sldMk cId="3720673345" sldId="336"/>
            <ac:spMk id="620" creationId="{00000000-0000-0000-0000-000000000000}"/>
          </ac:spMkLst>
        </pc:spChg>
      </pc:sldChg>
      <pc:sldChg chg="delSp mod">
        <pc:chgData name="Tami Corson" userId="17b03132-2f21-4edf-a2df-f25c30f43233" providerId="ADAL" clId="{6792B936-5997-41FF-9132-74CFA4A2F780}" dt="2022-03-21T23:37:28.351" v="1293" actId="478"/>
        <pc:sldMkLst>
          <pc:docMk/>
          <pc:sldMk cId="1209993513" sldId="338"/>
        </pc:sldMkLst>
        <pc:spChg chg="del">
          <ac:chgData name="Tami Corson" userId="17b03132-2f21-4edf-a2df-f25c30f43233" providerId="ADAL" clId="{6792B936-5997-41FF-9132-74CFA4A2F780}" dt="2022-03-21T23:37:28.351" v="1293" actId="478"/>
          <ac:spMkLst>
            <pc:docMk/>
            <pc:sldMk cId="1209993513" sldId="338"/>
            <ac:spMk id="13" creationId="{8AA9B512-3C2F-4929-A53B-DC613CCD9E7D}"/>
          </ac:spMkLst>
        </pc:spChg>
      </pc:sldChg>
      <pc:sldChg chg="delSp modSp mod">
        <pc:chgData name="Tami Corson" userId="17b03132-2f21-4edf-a2df-f25c30f43233" providerId="ADAL" clId="{6792B936-5997-41FF-9132-74CFA4A2F780}" dt="2022-03-22T15:43:49.841" v="3429" actId="14100"/>
        <pc:sldMkLst>
          <pc:docMk/>
          <pc:sldMk cId="2486721525" sldId="341"/>
        </pc:sldMkLst>
        <pc:spChg chg="mod">
          <ac:chgData name="Tami Corson" userId="17b03132-2f21-4edf-a2df-f25c30f43233" providerId="ADAL" clId="{6792B936-5997-41FF-9132-74CFA4A2F780}" dt="2022-03-22T15:42:55.336" v="3423" actId="1076"/>
          <ac:spMkLst>
            <pc:docMk/>
            <pc:sldMk cId="2486721525" sldId="341"/>
            <ac:spMk id="137" creationId="{1301D16D-0233-425B-8533-705B8AA7A3FB}"/>
          </ac:spMkLst>
        </pc:spChg>
        <pc:cxnChg chg="mod">
          <ac:chgData name="Tami Corson" userId="17b03132-2f21-4edf-a2df-f25c30f43233" providerId="ADAL" clId="{6792B936-5997-41FF-9132-74CFA4A2F780}" dt="2022-03-22T15:43:05.779" v="3425" actId="1076"/>
          <ac:cxnSpMkLst>
            <pc:docMk/>
            <pc:sldMk cId="2486721525" sldId="341"/>
            <ac:cxnSpMk id="135" creationId="{07D150B9-41C8-4CFF-ACA8-4BE69CAF1760}"/>
          </ac:cxnSpMkLst>
        </pc:cxnChg>
        <pc:cxnChg chg="del mod">
          <ac:chgData name="Tami Corson" userId="17b03132-2f21-4edf-a2df-f25c30f43233" providerId="ADAL" clId="{6792B936-5997-41FF-9132-74CFA4A2F780}" dt="2022-03-22T15:43:12.802" v="3426" actId="478"/>
          <ac:cxnSpMkLst>
            <pc:docMk/>
            <pc:sldMk cId="2486721525" sldId="341"/>
            <ac:cxnSpMk id="139" creationId="{A4AB02A9-1CB3-480F-8B5C-4F4E1186DF46}"/>
          </ac:cxnSpMkLst>
        </pc:cxnChg>
        <pc:cxnChg chg="mod">
          <ac:chgData name="Tami Corson" userId="17b03132-2f21-4edf-a2df-f25c30f43233" providerId="ADAL" clId="{6792B936-5997-41FF-9132-74CFA4A2F780}" dt="2022-03-22T15:43:42.353" v="3427" actId="14100"/>
          <ac:cxnSpMkLst>
            <pc:docMk/>
            <pc:sldMk cId="2486721525" sldId="341"/>
            <ac:cxnSpMk id="397" creationId="{00000000-0000-0000-0000-000000000000}"/>
          </ac:cxnSpMkLst>
        </pc:cxnChg>
        <pc:cxnChg chg="mod">
          <ac:chgData name="Tami Corson" userId="17b03132-2f21-4edf-a2df-f25c30f43233" providerId="ADAL" clId="{6792B936-5997-41FF-9132-74CFA4A2F780}" dt="2022-03-22T15:43:46.064" v="3428" actId="14100"/>
          <ac:cxnSpMkLst>
            <pc:docMk/>
            <pc:sldMk cId="2486721525" sldId="341"/>
            <ac:cxnSpMk id="398" creationId="{00000000-0000-0000-0000-000000000000}"/>
          </ac:cxnSpMkLst>
        </pc:cxnChg>
        <pc:cxnChg chg="mod">
          <ac:chgData name="Tami Corson" userId="17b03132-2f21-4edf-a2df-f25c30f43233" providerId="ADAL" clId="{6792B936-5997-41FF-9132-74CFA4A2F780}" dt="2022-03-22T15:43:49.841" v="3429" actId="14100"/>
          <ac:cxnSpMkLst>
            <pc:docMk/>
            <pc:sldMk cId="2486721525" sldId="341"/>
            <ac:cxnSpMk id="425" creationId="{00000000-0000-0000-0000-000000000000}"/>
          </ac:cxnSpMkLst>
        </pc:cxnChg>
      </pc:sldChg>
      <pc:sldChg chg="modSp mod">
        <pc:chgData name="Tami Corson" userId="17b03132-2f21-4edf-a2df-f25c30f43233" providerId="ADAL" clId="{6792B936-5997-41FF-9132-74CFA4A2F780}" dt="2022-03-22T16:19:50.796" v="4099" actId="2"/>
        <pc:sldMkLst>
          <pc:docMk/>
          <pc:sldMk cId="4114424017" sldId="342"/>
        </pc:sldMkLst>
        <pc:graphicFrameChg chg="modGraphic">
          <ac:chgData name="Tami Corson" userId="17b03132-2f21-4edf-a2df-f25c30f43233" providerId="ADAL" clId="{6792B936-5997-41FF-9132-74CFA4A2F780}" dt="2022-03-22T16:19:50.796" v="4099" actId="2"/>
          <ac:graphicFrameMkLst>
            <pc:docMk/>
            <pc:sldMk cId="4114424017" sldId="342"/>
            <ac:graphicFrameMk id="23" creationId="{F4A84191-3BFB-48AA-A343-19DE4EA3891C}"/>
          </ac:graphicFrameMkLst>
        </pc:graphicFrameChg>
      </pc:sldChg>
      <pc:sldChg chg="delSp modSp mod">
        <pc:chgData name="Tami Corson" userId="17b03132-2f21-4edf-a2df-f25c30f43233" providerId="ADAL" clId="{6792B936-5997-41FF-9132-74CFA4A2F780}" dt="2022-03-22T16:19:04.742" v="4088" actId="6549"/>
        <pc:sldMkLst>
          <pc:docMk/>
          <pc:sldMk cId="211703589" sldId="343"/>
        </pc:sldMkLst>
        <pc:spChg chg="mod">
          <ac:chgData name="Tami Corson" userId="17b03132-2f21-4edf-a2df-f25c30f43233" providerId="ADAL" clId="{6792B936-5997-41FF-9132-74CFA4A2F780}" dt="2022-03-22T16:19:04.742" v="4088" actId="6549"/>
          <ac:spMkLst>
            <pc:docMk/>
            <pc:sldMk cId="211703589" sldId="343"/>
            <ac:spMk id="6" creationId="{D1B67900-A55A-49E3-9F1F-6FA28D277895}"/>
          </ac:spMkLst>
        </pc:spChg>
        <pc:spChg chg="del">
          <ac:chgData name="Tami Corson" userId="17b03132-2f21-4edf-a2df-f25c30f43233" providerId="ADAL" clId="{6792B936-5997-41FF-9132-74CFA4A2F780}" dt="2022-03-22T13:04:34.295" v="1322" actId="478"/>
          <ac:spMkLst>
            <pc:docMk/>
            <pc:sldMk cId="211703589" sldId="343"/>
            <ac:spMk id="16" creationId="{216B62F5-735A-46AD-A630-1057B3E9FDD5}"/>
          </ac:spMkLst>
        </pc:spChg>
        <pc:spChg chg="mod">
          <ac:chgData name="Tami Corson" userId="17b03132-2f21-4edf-a2df-f25c30f43233" providerId="ADAL" clId="{6792B936-5997-41FF-9132-74CFA4A2F780}" dt="2022-03-22T13:04:29.132" v="1321" actId="20577"/>
          <ac:spMkLst>
            <pc:docMk/>
            <pc:sldMk cId="211703589" sldId="343"/>
            <ac:spMk id="575" creationId="{00000000-0000-0000-0000-000000000000}"/>
          </ac:spMkLst>
        </pc:spChg>
      </pc:sldChg>
      <pc:sldChg chg="delSp modSp mod">
        <pc:chgData name="Tami Corson" userId="17b03132-2f21-4edf-a2df-f25c30f43233" providerId="ADAL" clId="{6792B936-5997-41FF-9132-74CFA4A2F780}" dt="2022-03-22T15:37:57.278" v="3407" actId="6549"/>
        <pc:sldMkLst>
          <pc:docMk/>
          <pc:sldMk cId="1639760722" sldId="344"/>
        </pc:sldMkLst>
        <pc:spChg chg="del">
          <ac:chgData name="Tami Corson" userId="17b03132-2f21-4edf-a2df-f25c30f43233" providerId="ADAL" clId="{6792B936-5997-41FF-9132-74CFA4A2F780}" dt="2022-03-22T13:14:24.903" v="1423" actId="478"/>
          <ac:spMkLst>
            <pc:docMk/>
            <pc:sldMk cId="1639760722" sldId="344"/>
            <ac:spMk id="4" creationId="{9FF45032-DA33-42F9-A2D7-C8472B5476B9}"/>
          </ac:spMkLst>
        </pc:spChg>
        <pc:spChg chg="del">
          <ac:chgData name="Tami Corson" userId="17b03132-2f21-4edf-a2df-f25c30f43233" providerId="ADAL" clId="{6792B936-5997-41FF-9132-74CFA4A2F780}" dt="2022-03-22T13:14:28.855" v="1424" actId="478"/>
          <ac:spMkLst>
            <pc:docMk/>
            <pc:sldMk cId="1639760722" sldId="344"/>
            <ac:spMk id="13" creationId="{E0B97D5A-C3E6-46E9-ACE0-BD0966902C06}"/>
          </ac:spMkLst>
        </pc:spChg>
        <pc:spChg chg="mod">
          <ac:chgData name="Tami Corson" userId="17b03132-2f21-4edf-a2df-f25c30f43233" providerId="ADAL" clId="{6792B936-5997-41FF-9132-74CFA4A2F780}" dt="2022-03-22T13:05:48.595" v="1326" actId="208"/>
          <ac:spMkLst>
            <pc:docMk/>
            <pc:sldMk cId="1639760722" sldId="344"/>
            <ac:spMk id="15" creationId="{E539B02A-95E4-440D-9E22-F138643D2C89}"/>
          </ac:spMkLst>
        </pc:spChg>
        <pc:spChg chg="mod">
          <ac:chgData name="Tami Corson" userId="17b03132-2f21-4edf-a2df-f25c30f43233" providerId="ADAL" clId="{6792B936-5997-41FF-9132-74CFA4A2F780}" dt="2022-03-22T13:05:45.540" v="1325" actId="208"/>
          <ac:spMkLst>
            <pc:docMk/>
            <pc:sldMk cId="1639760722" sldId="344"/>
            <ac:spMk id="16" creationId="{F29BBF2D-5F15-45EC-BE2A-14ABF1E18DB5}"/>
          </ac:spMkLst>
        </pc:spChg>
        <pc:spChg chg="mod">
          <ac:chgData name="Tami Corson" userId="17b03132-2f21-4edf-a2df-f25c30f43233" providerId="ADAL" clId="{6792B936-5997-41FF-9132-74CFA4A2F780}" dt="2022-03-21T21:49:52.351" v="932" actId="3626"/>
          <ac:spMkLst>
            <pc:docMk/>
            <pc:sldMk cId="1639760722" sldId="344"/>
            <ac:spMk id="605" creationId="{00000000-0000-0000-0000-000000000000}"/>
          </ac:spMkLst>
        </pc:spChg>
        <pc:spChg chg="mod">
          <ac:chgData name="Tami Corson" userId="17b03132-2f21-4edf-a2df-f25c30f43233" providerId="ADAL" clId="{6792B936-5997-41FF-9132-74CFA4A2F780}" dt="2022-03-22T15:37:57.278" v="3407" actId="6549"/>
          <ac:spMkLst>
            <pc:docMk/>
            <pc:sldMk cId="1639760722" sldId="344"/>
            <ac:spMk id="609" creationId="{00000000-0000-0000-0000-000000000000}"/>
          </ac:spMkLst>
        </pc:spChg>
      </pc:sldChg>
      <pc:sldChg chg="addSp modSp mod">
        <pc:chgData name="Tami Corson" userId="17b03132-2f21-4edf-a2df-f25c30f43233" providerId="ADAL" clId="{6792B936-5997-41FF-9132-74CFA4A2F780}" dt="2022-03-21T23:42:18.473" v="1297" actId="207"/>
        <pc:sldMkLst>
          <pc:docMk/>
          <pc:sldMk cId="1358823486" sldId="345"/>
        </pc:sldMkLst>
        <pc:spChg chg="add mod">
          <ac:chgData name="Tami Corson" userId="17b03132-2f21-4edf-a2df-f25c30f43233" providerId="ADAL" clId="{6792B936-5997-41FF-9132-74CFA4A2F780}" dt="2022-03-21T23:42:18.473" v="1297" actId="207"/>
          <ac:spMkLst>
            <pc:docMk/>
            <pc:sldMk cId="1358823486" sldId="345"/>
            <ac:spMk id="18" creationId="{69111B64-2FF4-4ACD-ABAA-36332D0BF9A5}"/>
          </ac:spMkLst>
        </pc:spChg>
        <pc:picChg chg="mod">
          <ac:chgData name="Tami Corson" userId="17b03132-2f21-4edf-a2df-f25c30f43233" providerId="ADAL" clId="{6792B936-5997-41FF-9132-74CFA4A2F780}" dt="2022-03-21T12:54:21.175" v="14" actId="1076"/>
          <ac:picMkLst>
            <pc:docMk/>
            <pc:sldMk cId="1358823486" sldId="345"/>
            <ac:picMk id="13" creationId="{88371E29-1789-480F-9F0D-AD8B2C61382A}"/>
          </ac:picMkLst>
        </pc:picChg>
      </pc:sldChg>
      <pc:sldChg chg="addSp delSp modSp mod">
        <pc:chgData name="Tami Corson" userId="17b03132-2f21-4edf-a2df-f25c30f43233" providerId="ADAL" clId="{6792B936-5997-41FF-9132-74CFA4A2F780}" dt="2022-03-21T23:40:35.126" v="1294" actId="3626"/>
        <pc:sldMkLst>
          <pc:docMk/>
          <pc:sldMk cId="2963563579" sldId="348"/>
        </pc:sldMkLst>
        <pc:spChg chg="add mod">
          <ac:chgData name="Tami Corson" userId="17b03132-2f21-4edf-a2df-f25c30f43233" providerId="ADAL" clId="{6792B936-5997-41FF-9132-74CFA4A2F780}" dt="2022-03-21T21:53:59.081" v="979"/>
          <ac:spMkLst>
            <pc:docMk/>
            <pc:sldMk cId="2963563579" sldId="348"/>
            <ac:spMk id="14" creationId="{314EDFE2-8825-44A8-A59E-C5A6A5FD2E50}"/>
          </ac:spMkLst>
        </pc:spChg>
        <pc:spChg chg="del mod">
          <ac:chgData name="Tami Corson" userId="17b03132-2f21-4edf-a2df-f25c30f43233" providerId="ADAL" clId="{6792B936-5997-41FF-9132-74CFA4A2F780}" dt="2022-03-21T21:52:45.362" v="962" actId="478"/>
          <ac:spMkLst>
            <pc:docMk/>
            <pc:sldMk cId="2963563579" sldId="348"/>
            <ac:spMk id="605" creationId="{00000000-0000-0000-0000-000000000000}"/>
          </ac:spMkLst>
        </pc:spChg>
        <pc:spChg chg="mod">
          <ac:chgData name="Tami Corson" userId="17b03132-2f21-4edf-a2df-f25c30f43233" providerId="ADAL" clId="{6792B936-5997-41FF-9132-74CFA4A2F780}" dt="2022-03-21T23:40:35.126" v="1294" actId="3626"/>
          <ac:spMkLst>
            <pc:docMk/>
            <pc:sldMk cId="2963563579" sldId="348"/>
            <ac:spMk id="609" creationId="{00000000-0000-0000-0000-000000000000}"/>
          </ac:spMkLst>
        </pc:spChg>
      </pc:sldChg>
      <pc:sldChg chg="del">
        <pc:chgData name="Tami Corson" userId="17b03132-2f21-4edf-a2df-f25c30f43233" providerId="ADAL" clId="{6792B936-5997-41FF-9132-74CFA4A2F780}" dt="2022-03-21T19:57:25.633" v="578" actId="47"/>
        <pc:sldMkLst>
          <pc:docMk/>
          <pc:sldMk cId="3993415409" sldId="349"/>
        </pc:sldMkLst>
      </pc:sldChg>
      <pc:sldChg chg="modSp mod">
        <pc:chgData name="Tami Corson" userId="17b03132-2f21-4edf-a2df-f25c30f43233" providerId="ADAL" clId="{6792B936-5997-41FF-9132-74CFA4A2F780}" dt="2022-03-22T16:19:59.200" v="4103" actId="20577"/>
        <pc:sldMkLst>
          <pc:docMk/>
          <pc:sldMk cId="754587697" sldId="352"/>
        </pc:sldMkLst>
        <pc:graphicFrameChg chg="modGraphic">
          <ac:chgData name="Tami Corson" userId="17b03132-2f21-4edf-a2df-f25c30f43233" providerId="ADAL" clId="{6792B936-5997-41FF-9132-74CFA4A2F780}" dt="2022-03-22T16:19:59.200" v="4103" actId="20577"/>
          <ac:graphicFrameMkLst>
            <pc:docMk/>
            <pc:sldMk cId="754587697" sldId="352"/>
            <ac:graphicFrameMk id="23" creationId="{F4A84191-3BFB-48AA-A343-19DE4EA3891C}"/>
          </ac:graphicFrameMkLst>
        </pc:graphicFrameChg>
      </pc:sldChg>
      <pc:sldChg chg="modSp mod">
        <pc:chgData name="Tami Corson" userId="17b03132-2f21-4edf-a2df-f25c30f43233" providerId="ADAL" clId="{6792B936-5997-41FF-9132-74CFA4A2F780}" dt="2022-03-22T16:18:57.723" v="4086" actId="313"/>
        <pc:sldMkLst>
          <pc:docMk/>
          <pc:sldMk cId="2527603155" sldId="353"/>
        </pc:sldMkLst>
        <pc:spChg chg="mod">
          <ac:chgData name="Tami Corson" userId="17b03132-2f21-4edf-a2df-f25c30f43233" providerId="ADAL" clId="{6792B936-5997-41FF-9132-74CFA4A2F780}" dt="2022-03-22T14:07:20.442" v="1798" actId="20577"/>
          <ac:spMkLst>
            <pc:docMk/>
            <pc:sldMk cId="2527603155" sldId="353"/>
            <ac:spMk id="2" creationId="{608E690F-8CF2-4ABB-BEF4-B86D373DAFAD}"/>
          </ac:spMkLst>
        </pc:spChg>
        <pc:spChg chg="mod">
          <ac:chgData name="Tami Corson" userId="17b03132-2f21-4edf-a2df-f25c30f43233" providerId="ADAL" clId="{6792B936-5997-41FF-9132-74CFA4A2F780}" dt="2022-03-22T15:38:32.508" v="3408" actId="33524"/>
          <ac:spMkLst>
            <pc:docMk/>
            <pc:sldMk cId="2527603155" sldId="353"/>
            <ac:spMk id="15" creationId="{1F301F17-C695-479F-8C1E-0A4D7A9FF58B}"/>
          </ac:spMkLst>
        </pc:spChg>
        <pc:spChg chg="mod">
          <ac:chgData name="Tami Corson" userId="17b03132-2f21-4edf-a2df-f25c30f43233" providerId="ADAL" clId="{6792B936-5997-41FF-9132-74CFA4A2F780}" dt="2022-03-22T16:18:57.723" v="4086" actId="313"/>
          <ac:spMkLst>
            <pc:docMk/>
            <pc:sldMk cId="2527603155" sldId="353"/>
            <ac:spMk id="17" creationId="{1D0F6373-7FF4-F64B-A9FB-FA5D91D110D1}"/>
          </ac:spMkLst>
        </pc:spChg>
      </pc:sldChg>
      <pc:sldChg chg="modSp mod">
        <pc:chgData name="Tami Corson" userId="17b03132-2f21-4edf-a2df-f25c30f43233" providerId="ADAL" clId="{6792B936-5997-41FF-9132-74CFA4A2F780}" dt="2022-03-21T21:57:41.215" v="1042" actId="20577"/>
        <pc:sldMkLst>
          <pc:docMk/>
          <pc:sldMk cId="3576351713" sldId="354"/>
        </pc:sldMkLst>
        <pc:spChg chg="mod">
          <ac:chgData name="Tami Corson" userId="17b03132-2f21-4edf-a2df-f25c30f43233" providerId="ADAL" clId="{6792B936-5997-41FF-9132-74CFA4A2F780}" dt="2022-03-21T21:50:54.381" v="940" actId="6549"/>
          <ac:spMkLst>
            <pc:docMk/>
            <pc:sldMk cId="3576351713" sldId="354"/>
            <ac:spMk id="601" creationId="{00000000-0000-0000-0000-000000000000}"/>
          </ac:spMkLst>
        </pc:spChg>
        <pc:spChg chg="mod">
          <ac:chgData name="Tami Corson" userId="17b03132-2f21-4edf-a2df-f25c30f43233" providerId="ADAL" clId="{6792B936-5997-41FF-9132-74CFA4A2F780}" dt="2022-03-21T21:57:41.215" v="1042" actId="20577"/>
          <ac:spMkLst>
            <pc:docMk/>
            <pc:sldMk cId="3576351713" sldId="354"/>
            <ac:spMk id="605" creationId="{00000000-0000-0000-0000-000000000000}"/>
          </ac:spMkLst>
        </pc:spChg>
        <pc:spChg chg="mod">
          <ac:chgData name="Tami Corson" userId="17b03132-2f21-4edf-a2df-f25c30f43233" providerId="ADAL" clId="{6792B936-5997-41FF-9132-74CFA4A2F780}" dt="2022-03-21T21:51:13.562" v="959" actId="6549"/>
          <ac:spMkLst>
            <pc:docMk/>
            <pc:sldMk cId="3576351713" sldId="354"/>
            <ac:spMk id="609" creationId="{00000000-0000-0000-0000-000000000000}"/>
          </ac:spMkLst>
        </pc:spChg>
      </pc:sldChg>
      <pc:sldChg chg="delSp modSp mod">
        <pc:chgData name="Tami Corson" userId="17b03132-2f21-4edf-a2df-f25c30f43233" providerId="ADAL" clId="{6792B936-5997-41FF-9132-74CFA4A2F780}" dt="2022-03-22T13:12:29.891" v="1422" actId="478"/>
        <pc:sldMkLst>
          <pc:docMk/>
          <pc:sldMk cId="2060296423" sldId="355"/>
        </pc:sldMkLst>
        <pc:spChg chg="del">
          <ac:chgData name="Tami Corson" userId="17b03132-2f21-4edf-a2df-f25c30f43233" providerId="ADAL" clId="{6792B936-5997-41FF-9132-74CFA4A2F780}" dt="2022-03-22T13:12:29.891" v="1422" actId="478"/>
          <ac:spMkLst>
            <pc:docMk/>
            <pc:sldMk cId="2060296423" sldId="355"/>
            <ac:spMk id="18" creationId="{C5BCFE83-CBCC-4D51-BA66-8FF2BB039877}"/>
          </ac:spMkLst>
        </pc:spChg>
        <pc:spChg chg="del">
          <ac:chgData name="Tami Corson" userId="17b03132-2f21-4edf-a2df-f25c30f43233" providerId="ADAL" clId="{6792B936-5997-41FF-9132-74CFA4A2F780}" dt="2022-03-22T13:12:24.727" v="1421" actId="478"/>
          <ac:spMkLst>
            <pc:docMk/>
            <pc:sldMk cId="2060296423" sldId="355"/>
            <ac:spMk id="22" creationId="{2E0A430B-B95F-4458-B082-FFAE184EA847}"/>
          </ac:spMkLst>
        </pc:spChg>
        <pc:spChg chg="mod">
          <ac:chgData name="Tami Corson" userId="17b03132-2f21-4edf-a2df-f25c30f43233" providerId="ADAL" clId="{6792B936-5997-41FF-9132-74CFA4A2F780}" dt="2022-03-21T21:43:17.689" v="697" actId="6549"/>
          <ac:spMkLst>
            <pc:docMk/>
            <pc:sldMk cId="2060296423" sldId="355"/>
            <ac:spMk id="620" creationId="{00000000-0000-0000-0000-000000000000}"/>
          </ac:spMkLst>
        </pc:spChg>
      </pc:sldChg>
      <pc:sldChg chg="delSp modSp mod">
        <pc:chgData name="Tami Corson" userId="17b03132-2f21-4edf-a2df-f25c30f43233" providerId="ADAL" clId="{6792B936-5997-41FF-9132-74CFA4A2F780}" dt="2022-03-22T13:17:54.653" v="1472" actId="478"/>
        <pc:sldMkLst>
          <pc:docMk/>
          <pc:sldMk cId="4017139295" sldId="356"/>
        </pc:sldMkLst>
        <pc:spChg chg="del">
          <ac:chgData name="Tami Corson" userId="17b03132-2f21-4edf-a2df-f25c30f43233" providerId="ADAL" clId="{6792B936-5997-41FF-9132-74CFA4A2F780}" dt="2022-03-22T13:17:54.653" v="1472" actId="478"/>
          <ac:spMkLst>
            <pc:docMk/>
            <pc:sldMk cId="4017139295" sldId="356"/>
            <ac:spMk id="4" creationId="{9FF45032-DA33-42F9-A2D7-C8472B5476B9}"/>
          </ac:spMkLst>
        </pc:spChg>
        <pc:spChg chg="del">
          <ac:chgData name="Tami Corson" userId="17b03132-2f21-4edf-a2df-f25c30f43233" providerId="ADAL" clId="{6792B936-5997-41FF-9132-74CFA4A2F780}" dt="2022-03-22T13:14:47.815" v="1425" actId="478"/>
          <ac:spMkLst>
            <pc:docMk/>
            <pc:sldMk cId="4017139295" sldId="356"/>
            <ac:spMk id="13" creationId="{E0B97D5A-C3E6-46E9-ACE0-BD0966902C06}"/>
          </ac:spMkLst>
        </pc:spChg>
        <pc:spChg chg="mod">
          <ac:chgData name="Tami Corson" userId="17b03132-2f21-4edf-a2df-f25c30f43233" providerId="ADAL" clId="{6792B936-5997-41FF-9132-74CFA4A2F780}" dt="2022-03-22T13:17:27.180" v="1468" actId="1076"/>
          <ac:spMkLst>
            <pc:docMk/>
            <pc:sldMk cId="4017139295" sldId="356"/>
            <ac:spMk id="15" creationId="{E539B02A-95E4-440D-9E22-F138643D2C89}"/>
          </ac:spMkLst>
        </pc:spChg>
        <pc:spChg chg="mod">
          <ac:chgData name="Tami Corson" userId="17b03132-2f21-4edf-a2df-f25c30f43233" providerId="ADAL" clId="{6792B936-5997-41FF-9132-74CFA4A2F780}" dt="2022-03-22T13:17:19.745" v="1467" actId="12789"/>
          <ac:spMkLst>
            <pc:docMk/>
            <pc:sldMk cId="4017139295" sldId="356"/>
            <ac:spMk id="16" creationId="{F29BBF2D-5F15-45EC-BE2A-14ABF1E18DB5}"/>
          </ac:spMkLst>
        </pc:spChg>
        <pc:spChg chg="del">
          <ac:chgData name="Tami Corson" userId="17b03132-2f21-4edf-a2df-f25c30f43233" providerId="ADAL" clId="{6792B936-5997-41FF-9132-74CFA4A2F780}" dt="2022-03-22T13:16:14.569" v="1465" actId="478"/>
          <ac:spMkLst>
            <pc:docMk/>
            <pc:sldMk cId="4017139295" sldId="356"/>
            <ac:spMk id="605" creationId="{00000000-0000-0000-0000-000000000000}"/>
          </ac:spMkLst>
        </pc:spChg>
        <pc:spChg chg="del mod">
          <ac:chgData name="Tami Corson" userId="17b03132-2f21-4edf-a2df-f25c30f43233" providerId="ADAL" clId="{6792B936-5997-41FF-9132-74CFA4A2F780}" dt="2022-03-22T13:15:32.594" v="1462" actId="478"/>
          <ac:spMkLst>
            <pc:docMk/>
            <pc:sldMk cId="4017139295" sldId="356"/>
            <ac:spMk id="609" creationId="{00000000-0000-0000-0000-000000000000}"/>
          </ac:spMkLst>
        </pc:spChg>
      </pc:sldChg>
      <pc:sldChg chg="delSp modSp mod">
        <pc:chgData name="Tami Corson" userId="17b03132-2f21-4edf-a2df-f25c30f43233" providerId="ADAL" clId="{6792B936-5997-41FF-9132-74CFA4A2F780}" dt="2022-03-22T13:17:49.999" v="1471" actId="478"/>
        <pc:sldMkLst>
          <pc:docMk/>
          <pc:sldMk cId="73800528" sldId="357"/>
        </pc:sldMkLst>
        <pc:spChg chg="del">
          <ac:chgData name="Tami Corson" userId="17b03132-2f21-4edf-a2df-f25c30f43233" providerId="ADAL" clId="{6792B936-5997-41FF-9132-74CFA4A2F780}" dt="2022-03-22T13:17:49.999" v="1471" actId="478"/>
          <ac:spMkLst>
            <pc:docMk/>
            <pc:sldMk cId="73800528" sldId="357"/>
            <ac:spMk id="4" creationId="{9FF45032-DA33-42F9-A2D7-C8472B5476B9}"/>
          </ac:spMkLst>
        </pc:spChg>
        <pc:spChg chg="del">
          <ac:chgData name="Tami Corson" userId="17b03132-2f21-4edf-a2df-f25c30f43233" providerId="ADAL" clId="{6792B936-5997-41FF-9132-74CFA4A2F780}" dt="2022-03-22T13:15:53.412" v="1464" actId="478"/>
          <ac:spMkLst>
            <pc:docMk/>
            <pc:sldMk cId="73800528" sldId="357"/>
            <ac:spMk id="13" creationId="{E0B97D5A-C3E6-46E9-ACE0-BD0966902C06}"/>
          </ac:spMkLst>
        </pc:spChg>
        <pc:spChg chg="mod">
          <ac:chgData name="Tami Corson" userId="17b03132-2f21-4edf-a2df-f25c30f43233" providerId="ADAL" clId="{6792B936-5997-41FF-9132-74CFA4A2F780}" dt="2022-03-22T13:17:40.140" v="1470" actId="1076"/>
          <ac:spMkLst>
            <pc:docMk/>
            <pc:sldMk cId="73800528" sldId="357"/>
            <ac:spMk id="15" creationId="{E539B02A-95E4-440D-9E22-F138643D2C89}"/>
          </ac:spMkLst>
        </pc:spChg>
        <pc:spChg chg="mod">
          <ac:chgData name="Tami Corson" userId="17b03132-2f21-4edf-a2df-f25c30f43233" providerId="ADAL" clId="{6792B936-5997-41FF-9132-74CFA4A2F780}" dt="2022-03-22T13:17:33.571" v="1469" actId="12789"/>
          <ac:spMkLst>
            <pc:docMk/>
            <pc:sldMk cId="73800528" sldId="357"/>
            <ac:spMk id="16" creationId="{F29BBF2D-5F15-45EC-BE2A-14ABF1E18DB5}"/>
          </ac:spMkLst>
        </pc:spChg>
        <pc:spChg chg="del">
          <ac:chgData name="Tami Corson" userId="17b03132-2f21-4edf-a2df-f25c30f43233" providerId="ADAL" clId="{6792B936-5997-41FF-9132-74CFA4A2F780}" dt="2022-03-22T13:16:20.079" v="1466" actId="478"/>
          <ac:spMkLst>
            <pc:docMk/>
            <pc:sldMk cId="73800528" sldId="357"/>
            <ac:spMk id="605" creationId="{00000000-0000-0000-0000-000000000000}"/>
          </ac:spMkLst>
        </pc:spChg>
        <pc:spChg chg="del">
          <ac:chgData name="Tami Corson" userId="17b03132-2f21-4edf-a2df-f25c30f43233" providerId="ADAL" clId="{6792B936-5997-41FF-9132-74CFA4A2F780}" dt="2022-03-22T13:15:44.760" v="1463" actId="478"/>
          <ac:spMkLst>
            <pc:docMk/>
            <pc:sldMk cId="73800528" sldId="357"/>
            <ac:spMk id="609" creationId="{00000000-0000-0000-0000-000000000000}"/>
          </ac:spMkLst>
        </pc:spChg>
      </pc:sldChg>
    </pc:docChg>
  </pc:docChgLst>
  <pc:docChgLst>
    <pc:chgData name="Guest User" userId="S::urn:spo:anon#c437c167f923f422528aee73b5e70e5726914197d2dec7f210a84ae49e8498a7::" providerId="AD" clId="Web-{83510495-323B-D8B4-B9E5-51C3CF2FAE86}"/>
    <pc:docChg chg="modSld">
      <pc:chgData name="Guest User" userId="S::urn:spo:anon#c437c167f923f422528aee73b5e70e5726914197d2dec7f210a84ae49e8498a7::" providerId="AD" clId="Web-{83510495-323B-D8B4-B9E5-51C3CF2FAE86}" dt="2022-04-04T18:51:49.126" v="6" actId="1076"/>
      <pc:docMkLst>
        <pc:docMk/>
      </pc:docMkLst>
      <pc:sldChg chg="addSp delSp modSp">
        <pc:chgData name="Guest User" userId="S::urn:spo:anon#c437c167f923f422528aee73b5e70e5726914197d2dec7f210a84ae49e8498a7::" providerId="AD" clId="Web-{83510495-323B-D8B4-B9E5-51C3CF2FAE86}" dt="2022-04-04T18:51:49.126" v="6" actId="1076"/>
        <pc:sldMkLst>
          <pc:docMk/>
          <pc:sldMk cId="1209993513" sldId="338"/>
        </pc:sldMkLst>
        <pc:spChg chg="del mod">
          <ac:chgData name="Guest User" userId="S::urn:spo:anon#c437c167f923f422528aee73b5e70e5726914197d2dec7f210a84ae49e8498a7::" providerId="AD" clId="Web-{83510495-323B-D8B4-B9E5-51C3CF2FAE86}" dt="2022-04-04T18:51:33.594" v="2"/>
          <ac:spMkLst>
            <pc:docMk/>
            <pc:sldMk cId="1209993513" sldId="338"/>
            <ac:spMk id="5" creationId="{0EC3D609-2E88-5746-8FAF-8AE853A004A1}"/>
          </ac:spMkLst>
        </pc:spChg>
        <pc:picChg chg="del">
          <ac:chgData name="Guest User" userId="S::urn:spo:anon#c437c167f923f422528aee73b5e70e5726914197d2dec7f210a84ae49e8498a7::" providerId="AD" clId="Web-{83510495-323B-D8B4-B9E5-51C3CF2FAE86}" dt="2022-04-04T18:51:30.828" v="0"/>
          <ac:picMkLst>
            <pc:docMk/>
            <pc:sldMk cId="1209993513" sldId="338"/>
            <ac:picMk id="4" creationId="{E28D81F6-4FB1-0216-2B96-210D9B8C15D6}"/>
          </ac:picMkLst>
        </pc:picChg>
        <pc:picChg chg="add mod">
          <ac:chgData name="Guest User" userId="S::urn:spo:anon#c437c167f923f422528aee73b5e70e5726914197d2dec7f210a84ae49e8498a7::" providerId="AD" clId="Web-{83510495-323B-D8B4-B9E5-51C3CF2FAE86}" dt="2022-04-04T18:51:49.126" v="6" actId="1076"/>
          <ac:picMkLst>
            <pc:docMk/>
            <pc:sldMk cId="1209993513" sldId="338"/>
            <ac:picMk id="6" creationId="{6018BBB5-6794-AEE2-EA2A-9D3DB1FBF604}"/>
          </ac:picMkLst>
        </pc:picChg>
      </pc:sldChg>
    </pc:docChg>
  </pc:docChgLst>
  <pc:docChgLst>
    <pc:chgData name="Guest User" userId="S::urn:spo:anon#bc72e6c931b442e1b83d9d7baffb28dcb7bee849e2d9a5e2bb7cc25170a1c113::" providerId="AD" clId="Web-{163C37D0-71A2-F8E9-BF06-C0488EA3DAB2}"/>
    <pc:docChg chg="addSld delSld modSld">
      <pc:chgData name="Guest User" userId="S::urn:spo:anon#bc72e6c931b442e1b83d9d7baffb28dcb7bee849e2d9a5e2bb7cc25170a1c113::" providerId="AD" clId="Web-{163C37D0-71A2-F8E9-BF06-C0488EA3DAB2}" dt="2022-03-21T14:32:24.844" v="8"/>
      <pc:docMkLst>
        <pc:docMk/>
      </pc:docMkLst>
      <pc:sldChg chg="modSp">
        <pc:chgData name="Guest User" userId="S::urn:spo:anon#bc72e6c931b442e1b83d9d7baffb28dcb7bee849e2d9a5e2bb7cc25170a1c113::" providerId="AD" clId="Web-{163C37D0-71A2-F8E9-BF06-C0488EA3DAB2}" dt="2022-03-21T14:31:35.452" v="3" actId="20577"/>
        <pc:sldMkLst>
          <pc:docMk/>
          <pc:sldMk cId="0" sldId="267"/>
        </pc:sldMkLst>
        <pc:spChg chg="mod">
          <ac:chgData name="Guest User" userId="S::urn:spo:anon#bc72e6c931b442e1b83d9d7baffb28dcb7bee849e2d9a5e2bb7cc25170a1c113::" providerId="AD" clId="Web-{163C37D0-71A2-F8E9-BF06-C0488EA3DAB2}" dt="2022-03-21T14:31:35.452" v="3" actId="20577"/>
          <ac:spMkLst>
            <pc:docMk/>
            <pc:sldMk cId="0" sldId="267"/>
            <ac:spMk id="6" creationId="{D1B67900-A55A-49E3-9F1F-6FA28D277895}"/>
          </ac:spMkLst>
        </pc:spChg>
      </pc:sldChg>
      <pc:sldChg chg="addSp delSp modSp new del">
        <pc:chgData name="Guest User" userId="S::urn:spo:anon#bc72e6c931b442e1b83d9d7baffb28dcb7bee849e2d9a5e2bb7cc25170a1c113::" providerId="AD" clId="Web-{163C37D0-71A2-F8E9-BF06-C0488EA3DAB2}" dt="2022-03-21T14:32:24.844" v="8"/>
        <pc:sldMkLst>
          <pc:docMk/>
          <pc:sldMk cId="514002723" sldId="353"/>
        </pc:sldMkLst>
        <pc:picChg chg="add del mod">
          <ac:chgData name="Guest User" userId="S::urn:spo:anon#bc72e6c931b442e1b83d9d7baffb28dcb7bee849e2d9a5e2bb7cc25170a1c113::" providerId="AD" clId="Web-{163C37D0-71A2-F8E9-BF06-C0488EA3DAB2}" dt="2022-03-21T14:32:19.359" v="7"/>
          <ac:picMkLst>
            <pc:docMk/>
            <pc:sldMk cId="514002723" sldId="353"/>
            <ac:picMk id="6" creationId="{A49311A1-347E-4FE5-ADE3-2A57FCD9C814}"/>
          </ac:picMkLst>
        </pc:picChg>
      </pc:sldChg>
    </pc:docChg>
  </pc:docChgLst>
  <pc:docChgLst>
    <pc:chgData name="Guest User" userId="S::urn:spo:anon#92e0bee1a612af7c1256e6aaf3dc4ec07c4151a598866b418723ef47912f2c2d::" providerId="AD" clId="Web-{E9683B36-356A-251A-A7E5-5E651CC0E5E2}"/>
    <pc:docChg chg="delSld modSld">
      <pc:chgData name="Guest User" userId="S::urn:spo:anon#92e0bee1a612af7c1256e6aaf3dc4ec07c4151a598866b418723ef47912f2c2d::" providerId="AD" clId="Web-{E9683B36-356A-251A-A7E5-5E651CC0E5E2}" dt="2022-03-22T17:40:36.865" v="2819" actId="20577"/>
      <pc:docMkLst>
        <pc:docMk/>
      </pc:docMkLst>
      <pc:sldChg chg="delSp">
        <pc:chgData name="Guest User" userId="S::urn:spo:anon#92e0bee1a612af7c1256e6aaf3dc4ec07c4151a598866b418723ef47912f2c2d::" providerId="AD" clId="Web-{E9683B36-356A-251A-A7E5-5E651CC0E5E2}" dt="2022-03-22T05:19:12.666" v="0"/>
        <pc:sldMkLst>
          <pc:docMk/>
          <pc:sldMk cId="0" sldId="257"/>
        </pc:sldMkLst>
        <pc:spChg chg="del">
          <ac:chgData name="Guest User" userId="S::urn:spo:anon#92e0bee1a612af7c1256e6aaf3dc4ec07c4151a598866b418723ef47912f2c2d::" providerId="AD" clId="Web-{E9683B36-356A-251A-A7E5-5E651CC0E5E2}" dt="2022-03-22T05:19:12.666" v="0"/>
          <ac:spMkLst>
            <pc:docMk/>
            <pc:sldMk cId="0" sldId="257"/>
            <ac:spMk id="8" creationId="{658FBB6F-FDD7-4B3F-BBC3-FB5A47C4D7BD}"/>
          </ac:spMkLst>
        </pc:spChg>
      </pc:sldChg>
      <pc:sldChg chg="modSp">
        <pc:chgData name="Guest User" userId="S::urn:spo:anon#92e0bee1a612af7c1256e6aaf3dc4ec07c4151a598866b418723ef47912f2c2d::" providerId="AD" clId="Web-{E9683B36-356A-251A-A7E5-5E651CC0E5E2}" dt="2022-03-22T17:40:36.865" v="2819" actId="20577"/>
        <pc:sldMkLst>
          <pc:docMk/>
          <pc:sldMk cId="0" sldId="259"/>
        </pc:sldMkLst>
        <pc:spChg chg="mod">
          <ac:chgData name="Guest User" userId="S::urn:spo:anon#92e0bee1a612af7c1256e6aaf3dc4ec07c4151a598866b418723ef47912f2c2d::" providerId="AD" clId="Web-{E9683B36-356A-251A-A7E5-5E651CC0E5E2}" dt="2022-03-22T17:40:36.865" v="2819" actId="20577"/>
          <ac:spMkLst>
            <pc:docMk/>
            <pc:sldMk cId="0" sldId="259"/>
            <ac:spMk id="312" creationId="{00000000-0000-0000-0000-000000000000}"/>
          </ac:spMkLst>
        </pc:spChg>
      </pc:sldChg>
      <pc:sldChg chg="modSp">
        <pc:chgData name="Guest User" userId="S::urn:spo:anon#92e0bee1a612af7c1256e6aaf3dc4ec07c4151a598866b418723ef47912f2c2d::" providerId="AD" clId="Web-{E9683B36-356A-251A-A7E5-5E651CC0E5E2}" dt="2022-03-22T05:28:30.014" v="12" actId="20577"/>
        <pc:sldMkLst>
          <pc:docMk/>
          <pc:sldMk cId="0" sldId="262"/>
        </pc:sldMkLst>
        <pc:spChg chg="mod">
          <ac:chgData name="Guest User" userId="S::urn:spo:anon#92e0bee1a612af7c1256e6aaf3dc4ec07c4151a598866b418723ef47912f2c2d::" providerId="AD" clId="Web-{E9683B36-356A-251A-A7E5-5E651CC0E5E2}" dt="2022-03-22T05:28:30.014" v="12" actId="20577"/>
          <ac:spMkLst>
            <pc:docMk/>
            <pc:sldMk cId="0" sldId="262"/>
            <ac:spMk id="344" creationId="{00000000-0000-0000-0000-000000000000}"/>
          </ac:spMkLst>
        </pc:spChg>
      </pc:sldChg>
      <pc:sldChg chg="modSp">
        <pc:chgData name="Guest User" userId="S::urn:spo:anon#92e0bee1a612af7c1256e6aaf3dc4ec07c4151a598866b418723ef47912f2c2d::" providerId="AD" clId="Web-{E9683B36-356A-251A-A7E5-5E651CC0E5E2}" dt="2022-03-22T15:27:43.005" v="2798" actId="20577"/>
        <pc:sldMkLst>
          <pc:docMk/>
          <pc:sldMk cId="0" sldId="264"/>
        </pc:sldMkLst>
        <pc:spChg chg="mod">
          <ac:chgData name="Guest User" userId="S::urn:spo:anon#92e0bee1a612af7c1256e6aaf3dc4ec07c4151a598866b418723ef47912f2c2d::" providerId="AD" clId="Web-{E9683B36-356A-251A-A7E5-5E651CC0E5E2}" dt="2022-03-22T15:27:43.005" v="2798" actId="20577"/>
          <ac:spMkLst>
            <pc:docMk/>
            <pc:sldMk cId="0" sldId="264"/>
            <ac:spMk id="29" creationId="{CE4534C1-122C-4584-960F-B0117C9A488A}"/>
          </ac:spMkLst>
        </pc:spChg>
        <pc:spChg chg="mod">
          <ac:chgData name="Guest User" userId="S::urn:spo:anon#92e0bee1a612af7c1256e6aaf3dc4ec07c4151a598866b418723ef47912f2c2d::" providerId="AD" clId="Web-{E9683B36-356A-251A-A7E5-5E651CC0E5E2}" dt="2022-03-22T05:30:50.376" v="14" actId="20577"/>
          <ac:spMkLst>
            <pc:docMk/>
            <pc:sldMk cId="0" sldId="264"/>
            <ac:spMk id="30" creationId="{100AEE39-1F64-4466-ACEE-5B01ED088536}"/>
          </ac:spMkLst>
        </pc:spChg>
        <pc:spChg chg="mod">
          <ac:chgData name="Guest User" userId="S::urn:spo:anon#92e0bee1a612af7c1256e6aaf3dc4ec07c4151a598866b418723ef47912f2c2d::" providerId="AD" clId="Web-{E9683B36-356A-251A-A7E5-5E651CC0E5E2}" dt="2022-03-22T05:31:46.283" v="34" actId="20577"/>
          <ac:spMkLst>
            <pc:docMk/>
            <pc:sldMk cId="0" sldId="264"/>
            <ac:spMk id="472" creationId="{00000000-0000-0000-0000-000000000000}"/>
          </ac:spMkLst>
        </pc:spChg>
      </pc:sldChg>
      <pc:sldChg chg="addSp delSp modSp">
        <pc:chgData name="Guest User" userId="S::urn:spo:anon#92e0bee1a612af7c1256e6aaf3dc4ec07c4151a598866b418723ef47912f2c2d::" providerId="AD" clId="Web-{E9683B36-356A-251A-A7E5-5E651CC0E5E2}" dt="2022-03-22T15:30:12.715" v="2803"/>
        <pc:sldMkLst>
          <pc:docMk/>
          <pc:sldMk cId="0" sldId="267"/>
        </pc:sldMkLst>
        <pc:spChg chg="mod">
          <ac:chgData name="Guest User" userId="S::urn:spo:anon#92e0bee1a612af7c1256e6aaf3dc4ec07c4151a598866b418723ef47912f2c2d::" providerId="AD" clId="Web-{E9683B36-356A-251A-A7E5-5E651CC0E5E2}" dt="2022-03-22T06:11:33.991" v="2606" actId="20577"/>
          <ac:spMkLst>
            <pc:docMk/>
            <pc:sldMk cId="0" sldId="267"/>
            <ac:spMk id="6" creationId="{D1B67900-A55A-49E3-9F1F-6FA28D277895}"/>
          </ac:spMkLst>
        </pc:spChg>
        <pc:spChg chg="del mod">
          <ac:chgData name="Guest User" userId="S::urn:spo:anon#92e0bee1a612af7c1256e6aaf3dc4ec07c4151a598866b418723ef47912f2c2d::" providerId="AD" clId="Web-{E9683B36-356A-251A-A7E5-5E651CC0E5E2}" dt="2022-03-22T15:30:12.715" v="2803"/>
          <ac:spMkLst>
            <pc:docMk/>
            <pc:sldMk cId="0" sldId="267"/>
            <ac:spMk id="15" creationId="{5F6B97DE-9C1B-4986-AFF5-15EE2FB51B86}"/>
          </ac:spMkLst>
        </pc:spChg>
        <pc:spChg chg="del mod">
          <ac:chgData name="Guest User" userId="S::urn:spo:anon#92e0bee1a612af7c1256e6aaf3dc4ec07c4151a598866b418723ef47912f2c2d::" providerId="AD" clId="Web-{E9683B36-356A-251A-A7E5-5E651CC0E5E2}" dt="2022-03-22T06:11:40.053" v="2607"/>
          <ac:spMkLst>
            <pc:docMk/>
            <pc:sldMk cId="0" sldId="267"/>
            <ac:spMk id="16" creationId="{216B62F5-735A-46AD-A630-1057B3E9FDD5}"/>
          </ac:spMkLst>
        </pc:spChg>
        <pc:spChg chg="add mod">
          <ac:chgData name="Guest User" userId="S::urn:spo:anon#92e0bee1a612af7c1256e6aaf3dc4ec07c4151a598866b418723ef47912f2c2d::" providerId="AD" clId="Web-{E9683B36-356A-251A-A7E5-5E651CC0E5E2}" dt="2022-03-22T06:10:12.192" v="2551" actId="20577"/>
          <ac:spMkLst>
            <pc:docMk/>
            <pc:sldMk cId="0" sldId="267"/>
            <ac:spMk id="17" creationId="{BB2D6A27-8F31-491A-B5A6-20002BA01917}"/>
          </ac:spMkLst>
        </pc:spChg>
        <pc:picChg chg="add mod">
          <ac:chgData name="Guest User" userId="S::urn:spo:anon#92e0bee1a612af7c1256e6aaf3dc4ec07c4151a598866b418723ef47912f2c2d::" providerId="AD" clId="Web-{E9683B36-356A-251A-A7E5-5E651CC0E5E2}" dt="2022-03-22T06:08:46.159" v="2477" actId="1076"/>
          <ac:picMkLst>
            <pc:docMk/>
            <pc:sldMk cId="0" sldId="267"/>
            <ac:picMk id="4" creationId="{E963C357-8F83-411B-B523-2791ED6459DC}"/>
          </ac:picMkLst>
        </pc:picChg>
      </pc:sldChg>
      <pc:sldChg chg="addSp delSp">
        <pc:chgData name="Guest User" userId="S::urn:spo:anon#92e0bee1a612af7c1256e6aaf3dc4ec07c4151a598866b418723ef47912f2c2d::" providerId="AD" clId="Web-{E9683B36-356A-251A-A7E5-5E651CC0E5E2}" dt="2022-03-22T15:28:31.742" v="2801"/>
        <pc:sldMkLst>
          <pc:docMk/>
          <pc:sldMk cId="0" sldId="269"/>
        </pc:sldMkLst>
        <pc:spChg chg="del">
          <ac:chgData name="Guest User" userId="S::urn:spo:anon#92e0bee1a612af7c1256e6aaf3dc4ec07c4151a598866b418723ef47912f2c2d::" providerId="AD" clId="Web-{E9683B36-356A-251A-A7E5-5E651CC0E5E2}" dt="2022-03-22T15:28:31.742" v="2801"/>
          <ac:spMkLst>
            <pc:docMk/>
            <pc:sldMk cId="0" sldId="269"/>
            <ac:spMk id="7" creationId="{26F3CCCF-2BC5-4D15-8B88-7E8827A7C6E8}"/>
          </ac:spMkLst>
        </pc:spChg>
        <pc:spChg chg="add del">
          <ac:chgData name="Guest User" userId="S::urn:spo:anon#92e0bee1a612af7c1256e6aaf3dc4ec07c4151a598866b418723ef47912f2c2d::" providerId="AD" clId="Web-{E9683B36-356A-251A-A7E5-5E651CC0E5E2}" dt="2022-03-22T15:28:28.601" v="2800"/>
          <ac:spMkLst>
            <pc:docMk/>
            <pc:sldMk cId="0" sldId="269"/>
            <ac:spMk id="12" creationId="{8A98ECEC-5196-4A57-A0C5-EEF83F54FC68}"/>
          </ac:spMkLst>
        </pc:spChg>
      </pc:sldChg>
      <pc:sldChg chg="addSp delSp modSp">
        <pc:chgData name="Guest User" userId="S::urn:spo:anon#92e0bee1a612af7c1256e6aaf3dc4ec07c4151a598866b418723ef47912f2c2d::" providerId="AD" clId="Web-{E9683B36-356A-251A-A7E5-5E651CC0E5E2}" dt="2022-03-22T05:46:06.065" v="622"/>
        <pc:sldMkLst>
          <pc:docMk/>
          <pc:sldMk cId="0" sldId="275"/>
        </pc:sldMkLst>
        <pc:spChg chg="del">
          <ac:chgData name="Guest User" userId="S::urn:spo:anon#92e0bee1a612af7c1256e6aaf3dc4ec07c4151a598866b418723ef47912f2c2d::" providerId="AD" clId="Web-{E9683B36-356A-251A-A7E5-5E651CC0E5E2}" dt="2022-03-22T05:44:33.001" v="546"/>
          <ac:spMkLst>
            <pc:docMk/>
            <pc:sldMk cId="0" sldId="275"/>
            <ac:spMk id="2" creationId="{4F8BC962-E513-4596-8312-B9C7050A6972}"/>
          </ac:spMkLst>
        </pc:spChg>
        <pc:spChg chg="add mod">
          <ac:chgData name="Guest User" userId="S::urn:spo:anon#92e0bee1a612af7c1256e6aaf3dc4ec07c4151a598866b418723ef47912f2c2d::" providerId="AD" clId="Web-{E9683B36-356A-251A-A7E5-5E651CC0E5E2}" dt="2022-03-22T05:45:46.315" v="600" actId="20577"/>
          <ac:spMkLst>
            <pc:docMk/>
            <pc:sldMk cId="0" sldId="275"/>
            <ac:spMk id="5" creationId="{86737F5C-5575-427C-908C-240C97E11A51}"/>
          </ac:spMkLst>
        </pc:spChg>
        <pc:graphicFrameChg chg="mod modGraphic">
          <ac:chgData name="Guest User" userId="S::urn:spo:anon#92e0bee1a612af7c1256e6aaf3dc4ec07c4151a598866b418723ef47912f2c2d::" providerId="AD" clId="Web-{E9683B36-356A-251A-A7E5-5E651CC0E5E2}" dt="2022-03-22T05:46:06.065" v="622"/>
          <ac:graphicFrameMkLst>
            <pc:docMk/>
            <pc:sldMk cId="0" sldId="275"/>
            <ac:graphicFrameMk id="694" creationId="{00000000-0000-0000-0000-000000000000}"/>
          </ac:graphicFrameMkLst>
        </pc:graphicFrameChg>
      </pc:sldChg>
      <pc:sldChg chg="delSp modSp">
        <pc:chgData name="Guest User" userId="S::urn:spo:anon#92e0bee1a612af7c1256e6aaf3dc4ec07c4151a598866b418723ef47912f2c2d::" providerId="AD" clId="Web-{E9683B36-356A-251A-A7E5-5E651CC0E5E2}" dt="2022-03-22T17:30:17.178" v="2817"/>
        <pc:sldMkLst>
          <pc:docMk/>
          <pc:sldMk cId="0" sldId="280"/>
        </pc:sldMkLst>
        <pc:spChg chg="del">
          <ac:chgData name="Guest User" userId="S::urn:spo:anon#92e0bee1a612af7c1256e6aaf3dc4ec07c4151a598866b418723ef47912f2c2d::" providerId="AD" clId="Web-{E9683B36-356A-251A-A7E5-5E651CC0E5E2}" dt="2022-03-22T06:01:27.963" v="1709"/>
          <ac:spMkLst>
            <pc:docMk/>
            <pc:sldMk cId="0" sldId="280"/>
            <ac:spMk id="2" creationId="{54A056D4-C1E2-49A0-BC07-61F24B2B511D}"/>
          </ac:spMkLst>
        </pc:spChg>
        <pc:graphicFrameChg chg="mod modGraphic">
          <ac:chgData name="Guest User" userId="S::urn:spo:anon#92e0bee1a612af7c1256e6aaf3dc4ec07c4151a598866b418723ef47912f2c2d::" providerId="AD" clId="Web-{E9683B36-356A-251A-A7E5-5E651CC0E5E2}" dt="2022-03-22T17:30:17.178" v="2817"/>
          <ac:graphicFrameMkLst>
            <pc:docMk/>
            <pc:sldMk cId="0" sldId="280"/>
            <ac:graphicFrameMk id="858" creationId="{00000000-0000-0000-0000-000000000000}"/>
          </ac:graphicFrameMkLst>
        </pc:graphicFrameChg>
      </pc:sldChg>
      <pc:sldChg chg="addSp delSp modSp">
        <pc:chgData name="Guest User" userId="S::urn:spo:anon#92e0bee1a612af7c1256e6aaf3dc4ec07c4151a598866b418723ef47912f2c2d::" providerId="AD" clId="Web-{E9683B36-356A-251A-A7E5-5E651CC0E5E2}" dt="2022-03-22T06:07:47.783" v="2472"/>
        <pc:sldMkLst>
          <pc:docMk/>
          <pc:sldMk cId="0" sldId="283"/>
        </pc:sldMkLst>
        <pc:spChg chg="del">
          <ac:chgData name="Guest User" userId="S::urn:spo:anon#92e0bee1a612af7c1256e6aaf3dc4ec07c4151a598866b418723ef47912f2c2d::" providerId="AD" clId="Web-{E9683B36-356A-251A-A7E5-5E651CC0E5E2}" dt="2022-03-22T06:01:39.025" v="1710"/>
          <ac:spMkLst>
            <pc:docMk/>
            <pc:sldMk cId="0" sldId="283"/>
            <ac:spMk id="2" creationId="{D97DF0E6-F962-4E70-904A-C43F57BDAF6B}"/>
          </ac:spMkLst>
        </pc:spChg>
        <pc:spChg chg="add del mod">
          <ac:chgData name="Guest User" userId="S::urn:spo:anon#92e0bee1a612af7c1256e6aaf3dc4ec07c4151a598866b418723ef47912f2c2d::" providerId="AD" clId="Web-{E9683B36-356A-251A-A7E5-5E651CC0E5E2}" dt="2022-03-22T06:04:30.919" v="1955"/>
          <ac:spMkLst>
            <pc:docMk/>
            <pc:sldMk cId="0" sldId="283"/>
            <ac:spMk id="3" creationId="{DAAF74AE-2FB8-480D-A6A0-3E69AFA31721}"/>
          </ac:spMkLst>
        </pc:spChg>
        <pc:spChg chg="mod">
          <ac:chgData name="Guest User" userId="S::urn:spo:anon#92e0bee1a612af7c1256e6aaf3dc4ec07c4151a598866b418723ef47912f2c2d::" providerId="AD" clId="Web-{E9683B36-356A-251A-A7E5-5E651CC0E5E2}" dt="2022-03-22T06:07:33.876" v="2427" actId="1076"/>
          <ac:spMkLst>
            <pc:docMk/>
            <pc:sldMk cId="0" sldId="283"/>
            <ac:spMk id="13" creationId="{CBBF7C82-D0BF-483D-8655-9680C99D1D18}"/>
          </ac:spMkLst>
        </pc:spChg>
        <pc:spChg chg="del">
          <ac:chgData name="Guest User" userId="S::urn:spo:anon#92e0bee1a612af7c1256e6aaf3dc4ec07c4151a598866b418723ef47912f2c2d::" providerId="AD" clId="Web-{E9683B36-356A-251A-A7E5-5E651CC0E5E2}" dt="2022-03-22T06:03:30.965" v="1856"/>
          <ac:spMkLst>
            <pc:docMk/>
            <pc:sldMk cId="0" sldId="283"/>
            <ac:spMk id="14" creationId="{5CF03BAD-E1F5-4AFF-AE95-C773B7623683}"/>
          </ac:spMkLst>
        </pc:spChg>
        <pc:spChg chg="mod">
          <ac:chgData name="Guest User" userId="S::urn:spo:anon#92e0bee1a612af7c1256e6aaf3dc4ec07c4151a598866b418723ef47912f2c2d::" providerId="AD" clId="Web-{E9683B36-356A-251A-A7E5-5E651CC0E5E2}" dt="2022-03-22T06:07:31.173" v="2425" actId="1076"/>
          <ac:spMkLst>
            <pc:docMk/>
            <pc:sldMk cId="0" sldId="283"/>
            <ac:spMk id="15" creationId="{4E03B81E-06BB-45C9-A04F-3F71A33A4116}"/>
          </ac:spMkLst>
        </pc:spChg>
        <pc:spChg chg="mod">
          <ac:chgData name="Guest User" userId="S::urn:spo:anon#92e0bee1a612af7c1256e6aaf3dc4ec07c4151a598866b418723ef47912f2c2d::" providerId="AD" clId="Web-{E9683B36-356A-251A-A7E5-5E651CC0E5E2}" dt="2022-03-22T06:04:40.888" v="1956" actId="1076"/>
          <ac:spMkLst>
            <pc:docMk/>
            <pc:sldMk cId="0" sldId="283"/>
            <ac:spMk id="16" creationId="{7C86888D-8676-4954-B3CA-7563A7A86788}"/>
          </ac:spMkLst>
        </pc:spChg>
        <pc:spChg chg="add del mod">
          <ac:chgData name="Guest User" userId="S::urn:spo:anon#92e0bee1a612af7c1256e6aaf3dc4ec07c4151a598866b418723ef47912f2c2d::" providerId="AD" clId="Web-{E9683B36-356A-251A-A7E5-5E651CC0E5E2}" dt="2022-03-22T06:03:03.527" v="1831"/>
          <ac:spMkLst>
            <pc:docMk/>
            <pc:sldMk cId="0" sldId="283"/>
            <ac:spMk id="17" creationId="{D072109A-DEF9-4D83-AA44-F5AB08A7A3FA}"/>
          </ac:spMkLst>
        </pc:spChg>
        <pc:spChg chg="add mod">
          <ac:chgData name="Guest User" userId="S::urn:spo:anon#92e0bee1a612af7c1256e6aaf3dc4ec07c4151a598866b418723ef47912f2c2d::" providerId="AD" clId="Web-{E9683B36-356A-251A-A7E5-5E651CC0E5E2}" dt="2022-03-22T06:07:26.610" v="2424" actId="1076"/>
          <ac:spMkLst>
            <pc:docMk/>
            <pc:sldMk cId="0" sldId="283"/>
            <ac:spMk id="18" creationId="{46373D0D-F98D-4606-BC07-084849BDE347}"/>
          </ac:spMkLst>
        </pc:spChg>
        <pc:spChg chg="add mod">
          <ac:chgData name="Guest User" userId="S::urn:spo:anon#92e0bee1a612af7c1256e6aaf3dc4ec07c4151a598866b418723ef47912f2c2d::" providerId="AD" clId="Web-{E9683B36-356A-251A-A7E5-5E651CC0E5E2}" dt="2022-03-22T06:03:35.137" v="1858" actId="1076"/>
          <ac:spMkLst>
            <pc:docMk/>
            <pc:sldMk cId="0" sldId="283"/>
            <ac:spMk id="19" creationId="{4D271066-DA07-4647-B209-7C3919DF3ECC}"/>
          </ac:spMkLst>
        </pc:spChg>
        <pc:spChg chg="add mod">
          <ac:chgData name="Guest User" userId="S::urn:spo:anon#92e0bee1a612af7c1256e6aaf3dc4ec07c4151a598866b418723ef47912f2c2d::" providerId="AD" clId="Web-{E9683B36-356A-251A-A7E5-5E651CC0E5E2}" dt="2022-03-22T06:07:37.126" v="2428" actId="1076"/>
          <ac:spMkLst>
            <pc:docMk/>
            <pc:sldMk cId="0" sldId="283"/>
            <ac:spMk id="21" creationId="{7C092FA4-92F1-452C-973C-C91F4DCFAD78}"/>
          </ac:spMkLst>
        </pc:spChg>
        <pc:spChg chg="mod">
          <ac:chgData name="Guest User" userId="S::urn:spo:anon#92e0bee1a612af7c1256e6aaf3dc4ec07c4151a598866b418723ef47912f2c2d::" providerId="AD" clId="Web-{E9683B36-356A-251A-A7E5-5E651CC0E5E2}" dt="2022-03-22T06:06:06.484" v="2178" actId="20577"/>
          <ac:spMkLst>
            <pc:docMk/>
            <pc:sldMk cId="0" sldId="283"/>
            <ac:spMk id="931" creationId="{00000000-0000-0000-0000-000000000000}"/>
          </ac:spMkLst>
        </pc:spChg>
        <pc:grpChg chg="mod">
          <ac:chgData name="Guest User" userId="S::urn:spo:anon#92e0bee1a612af7c1256e6aaf3dc4ec07c4151a598866b418723ef47912f2c2d::" providerId="AD" clId="Web-{E9683B36-356A-251A-A7E5-5E651CC0E5E2}" dt="2022-03-22T06:07:04.891" v="2409" actId="1076"/>
          <ac:grpSpMkLst>
            <pc:docMk/>
            <pc:sldMk cId="0" sldId="283"/>
            <ac:grpSpMk id="932" creationId="{00000000-0000-0000-0000-000000000000}"/>
          </ac:grpSpMkLst>
        </pc:grpChg>
        <pc:graphicFrameChg chg="mod modGraphic">
          <ac:chgData name="Guest User" userId="S::urn:spo:anon#92e0bee1a612af7c1256e6aaf3dc4ec07c4151a598866b418723ef47912f2c2d::" providerId="AD" clId="Web-{E9683B36-356A-251A-A7E5-5E651CC0E5E2}" dt="2022-03-22T06:07:47.783" v="2472"/>
          <ac:graphicFrameMkLst>
            <pc:docMk/>
            <pc:sldMk cId="0" sldId="283"/>
            <ac:graphicFrameMk id="930" creationId="{00000000-0000-0000-0000-000000000000}"/>
          </ac:graphicFrameMkLst>
        </pc:graphicFrameChg>
      </pc:sldChg>
      <pc:sldChg chg="modSp">
        <pc:chgData name="Guest User" userId="S::urn:spo:anon#92e0bee1a612af7c1256e6aaf3dc4ec07c4151a598866b418723ef47912f2c2d::" providerId="AD" clId="Web-{E9683B36-356A-251A-A7E5-5E651CC0E5E2}" dt="2022-03-22T12:59:48.458" v="2650" actId="1076"/>
        <pc:sldMkLst>
          <pc:docMk/>
          <pc:sldMk cId="3210015788" sldId="303"/>
        </pc:sldMkLst>
        <pc:spChg chg="mod">
          <ac:chgData name="Guest User" userId="S::urn:spo:anon#92e0bee1a612af7c1256e6aaf3dc4ec07c4151a598866b418723ef47912f2c2d::" providerId="AD" clId="Web-{E9683B36-356A-251A-A7E5-5E651CC0E5E2}" dt="2022-03-22T12:59:48.458" v="2650" actId="1076"/>
          <ac:spMkLst>
            <pc:docMk/>
            <pc:sldMk cId="3210015788" sldId="303"/>
            <ac:spMk id="29" creationId="{9EDE1D44-C442-44A3-A246-C666D0FC9506}"/>
          </ac:spMkLst>
        </pc:spChg>
        <pc:spChg chg="mod">
          <ac:chgData name="Guest User" userId="S::urn:spo:anon#92e0bee1a612af7c1256e6aaf3dc4ec07c4151a598866b418723ef47912f2c2d::" providerId="AD" clId="Web-{E9683B36-356A-251A-A7E5-5E651CC0E5E2}" dt="2022-03-22T12:59:48.443" v="2649" actId="1076"/>
          <ac:spMkLst>
            <pc:docMk/>
            <pc:sldMk cId="3210015788" sldId="303"/>
            <ac:spMk id="30" creationId="{F5E6A857-939B-428F-8E38-79E7432F9239}"/>
          </ac:spMkLst>
        </pc:spChg>
        <pc:spChg chg="mod">
          <ac:chgData name="Guest User" userId="S::urn:spo:anon#92e0bee1a612af7c1256e6aaf3dc4ec07c4151a598866b418723ef47912f2c2d::" providerId="AD" clId="Web-{E9683B36-356A-251A-A7E5-5E651CC0E5E2}" dt="2022-03-22T12:59:45.739" v="2643" actId="20577"/>
          <ac:spMkLst>
            <pc:docMk/>
            <pc:sldMk cId="3210015788" sldId="303"/>
            <ac:spMk id="482" creationId="{00000000-0000-0000-0000-000000000000}"/>
          </ac:spMkLst>
        </pc:spChg>
        <pc:grpChg chg="mod">
          <ac:chgData name="Guest User" userId="S::urn:spo:anon#92e0bee1a612af7c1256e6aaf3dc4ec07c4151a598866b418723ef47912f2c2d::" providerId="AD" clId="Web-{E9683B36-356A-251A-A7E5-5E651CC0E5E2}" dt="2022-03-22T12:59:48.349" v="2644" actId="1076"/>
          <ac:grpSpMkLst>
            <pc:docMk/>
            <pc:sldMk cId="3210015788" sldId="303"/>
            <ac:grpSpMk id="2" creationId="{5446D027-4741-472B-92E7-05F1C5E0D155}"/>
          </ac:grpSpMkLst>
        </pc:grpChg>
        <pc:grpChg chg="mod">
          <ac:chgData name="Guest User" userId="S::urn:spo:anon#92e0bee1a612af7c1256e6aaf3dc4ec07c4151a598866b418723ef47912f2c2d::" providerId="AD" clId="Web-{E9683B36-356A-251A-A7E5-5E651CC0E5E2}" dt="2022-03-22T12:59:48.380" v="2646" actId="1076"/>
          <ac:grpSpMkLst>
            <pc:docMk/>
            <pc:sldMk cId="3210015788" sldId="303"/>
            <ac:grpSpMk id="5" creationId="{B4748D22-10CC-4855-AD20-21CA97C1DB4C}"/>
          </ac:grpSpMkLst>
        </pc:grpChg>
        <pc:cxnChg chg="mod">
          <ac:chgData name="Guest User" userId="S::urn:spo:anon#92e0bee1a612af7c1256e6aaf3dc4ec07c4151a598866b418723ef47912f2c2d::" providerId="AD" clId="Web-{E9683B36-356A-251A-A7E5-5E651CC0E5E2}" dt="2022-03-22T12:59:48.364" v="2645" actId="1076"/>
          <ac:cxnSpMkLst>
            <pc:docMk/>
            <pc:sldMk cId="3210015788" sldId="303"/>
            <ac:cxnSpMk id="485" creationId="{00000000-0000-0000-0000-000000000000}"/>
          </ac:cxnSpMkLst>
        </pc:cxnChg>
        <pc:cxnChg chg="mod">
          <ac:chgData name="Guest User" userId="S::urn:spo:anon#92e0bee1a612af7c1256e6aaf3dc4ec07c4151a598866b418723ef47912f2c2d::" providerId="AD" clId="Web-{E9683B36-356A-251A-A7E5-5E651CC0E5E2}" dt="2022-03-22T12:59:48.411" v="2647" actId="1076"/>
          <ac:cxnSpMkLst>
            <pc:docMk/>
            <pc:sldMk cId="3210015788" sldId="303"/>
            <ac:cxnSpMk id="486" creationId="{00000000-0000-0000-0000-000000000000}"/>
          </ac:cxnSpMkLst>
        </pc:cxnChg>
        <pc:cxnChg chg="mod">
          <ac:chgData name="Guest User" userId="S::urn:spo:anon#92e0bee1a612af7c1256e6aaf3dc4ec07c4151a598866b418723ef47912f2c2d::" providerId="AD" clId="Web-{E9683B36-356A-251A-A7E5-5E651CC0E5E2}" dt="2022-03-22T12:59:48.411" v="2648" actId="1076"/>
          <ac:cxnSpMkLst>
            <pc:docMk/>
            <pc:sldMk cId="3210015788" sldId="303"/>
            <ac:cxnSpMk id="487" creationId="{00000000-0000-0000-0000-000000000000}"/>
          </ac:cxnSpMkLst>
        </pc:cxnChg>
      </pc:sldChg>
      <pc:sldChg chg="addSp modSp">
        <pc:chgData name="Guest User" userId="S::urn:spo:anon#92e0bee1a612af7c1256e6aaf3dc4ec07c4151a598866b418723ef47912f2c2d::" providerId="AD" clId="Web-{E9683B36-356A-251A-A7E5-5E651CC0E5E2}" dt="2022-03-22T05:35:58.804" v="108" actId="14100"/>
        <pc:sldMkLst>
          <pc:docMk/>
          <pc:sldMk cId="1756389301" sldId="323"/>
        </pc:sldMkLst>
        <pc:spChg chg="add mod">
          <ac:chgData name="Guest User" userId="S::urn:spo:anon#92e0bee1a612af7c1256e6aaf3dc4ec07c4151a598866b418723ef47912f2c2d::" providerId="AD" clId="Web-{E9683B36-356A-251A-A7E5-5E651CC0E5E2}" dt="2022-03-22T05:35:58.804" v="108" actId="14100"/>
          <ac:spMkLst>
            <pc:docMk/>
            <pc:sldMk cId="1756389301" sldId="323"/>
            <ac:spMk id="4" creationId="{BF92DADF-CA80-4220-B99B-6FEB90716CCD}"/>
          </ac:spMkLst>
        </pc:spChg>
        <pc:picChg chg="add mod">
          <ac:chgData name="Guest User" userId="S::urn:spo:anon#92e0bee1a612af7c1256e6aaf3dc4ec07c4151a598866b418723ef47912f2c2d::" providerId="AD" clId="Web-{E9683B36-356A-251A-A7E5-5E651CC0E5E2}" dt="2022-03-22T05:35:15.522" v="55" actId="1076"/>
          <ac:picMkLst>
            <pc:docMk/>
            <pc:sldMk cId="1756389301" sldId="323"/>
            <ac:picMk id="2" creationId="{06FB615F-F8A3-43BA-A287-B8535775C676}"/>
          </ac:picMkLst>
        </pc:picChg>
      </pc:sldChg>
      <pc:sldChg chg="addSp modSp">
        <pc:chgData name="Guest User" userId="S::urn:spo:anon#92e0bee1a612af7c1256e6aaf3dc4ec07c4151a598866b418723ef47912f2c2d::" providerId="AD" clId="Web-{E9683B36-356A-251A-A7E5-5E651CC0E5E2}" dt="2022-03-22T05:50:30.336" v="899"/>
        <pc:sldMkLst>
          <pc:docMk/>
          <pc:sldMk cId="1295029711" sldId="333"/>
        </pc:sldMkLst>
        <pc:spChg chg="add mod">
          <ac:chgData name="Guest User" userId="S::urn:spo:anon#92e0bee1a612af7c1256e6aaf3dc4ec07c4151a598866b418723ef47912f2c2d::" providerId="AD" clId="Web-{E9683B36-356A-251A-A7E5-5E651CC0E5E2}" dt="2022-03-22T05:49:53.211" v="848" actId="20577"/>
          <ac:spMkLst>
            <pc:docMk/>
            <pc:sldMk cId="1295029711" sldId="333"/>
            <ac:spMk id="2" creationId="{F15F5792-AE24-4CF0-943E-33962B778326}"/>
          </ac:spMkLst>
        </pc:spChg>
        <pc:graphicFrameChg chg="mod modGraphic">
          <ac:chgData name="Guest User" userId="S::urn:spo:anon#92e0bee1a612af7c1256e6aaf3dc4ec07c4151a598866b418723ef47912f2c2d::" providerId="AD" clId="Web-{E9683B36-356A-251A-A7E5-5E651CC0E5E2}" dt="2022-03-22T05:50:30.336" v="899"/>
          <ac:graphicFrameMkLst>
            <pc:docMk/>
            <pc:sldMk cId="1295029711" sldId="333"/>
            <ac:graphicFrameMk id="694" creationId="{00000000-0000-0000-0000-000000000000}"/>
          </ac:graphicFrameMkLst>
        </pc:graphicFrameChg>
      </pc:sldChg>
      <pc:sldChg chg="addSp delSp modSp">
        <pc:chgData name="Guest User" userId="S::urn:spo:anon#92e0bee1a612af7c1256e6aaf3dc4ec07c4151a598866b418723ef47912f2c2d::" providerId="AD" clId="Web-{E9683B36-356A-251A-A7E5-5E651CC0E5E2}" dt="2022-03-22T05:52:42.073" v="939"/>
        <pc:sldMkLst>
          <pc:docMk/>
          <pc:sldMk cId="130301299" sldId="334"/>
        </pc:sldMkLst>
        <pc:spChg chg="add del mod">
          <ac:chgData name="Guest User" userId="S::urn:spo:anon#92e0bee1a612af7c1256e6aaf3dc4ec07c4151a598866b418723ef47912f2c2d::" providerId="AD" clId="Web-{E9683B36-356A-251A-A7E5-5E651CC0E5E2}" dt="2022-03-22T05:52:30.214" v="935"/>
          <ac:spMkLst>
            <pc:docMk/>
            <pc:sldMk cId="130301299" sldId="334"/>
            <ac:spMk id="2" creationId="{40DFAD8D-8215-4E72-9A2B-B45EDBE8D252}"/>
          </ac:spMkLst>
        </pc:spChg>
        <pc:graphicFrameChg chg="mod modGraphic">
          <ac:chgData name="Guest User" userId="S::urn:spo:anon#92e0bee1a612af7c1256e6aaf3dc4ec07c4151a598866b418723ef47912f2c2d::" providerId="AD" clId="Web-{E9683B36-356A-251A-A7E5-5E651CC0E5E2}" dt="2022-03-22T05:52:42.073" v="939"/>
          <ac:graphicFrameMkLst>
            <pc:docMk/>
            <pc:sldMk cId="130301299" sldId="334"/>
            <ac:graphicFrameMk id="694" creationId="{00000000-0000-0000-0000-000000000000}"/>
          </ac:graphicFrameMkLst>
        </pc:graphicFrameChg>
      </pc:sldChg>
      <pc:sldChg chg="addSp delSp">
        <pc:chgData name="Guest User" userId="S::urn:spo:anon#92e0bee1a612af7c1256e6aaf3dc4ec07c4151a598866b418723ef47912f2c2d::" providerId="AD" clId="Web-{E9683B36-356A-251A-A7E5-5E651CC0E5E2}" dt="2022-03-22T15:28:25.866" v="2799"/>
        <pc:sldMkLst>
          <pc:docMk/>
          <pc:sldMk cId="1209993513" sldId="338"/>
        </pc:sldMkLst>
        <pc:spChg chg="add del">
          <ac:chgData name="Guest User" userId="S::urn:spo:anon#92e0bee1a612af7c1256e6aaf3dc4ec07c4151a598866b418723ef47912f2c2d::" providerId="AD" clId="Web-{E9683B36-356A-251A-A7E5-5E651CC0E5E2}" dt="2022-03-22T15:28:25.866" v="2799"/>
          <ac:spMkLst>
            <pc:docMk/>
            <pc:sldMk cId="1209993513" sldId="338"/>
            <ac:spMk id="4" creationId="{24BB1A01-A250-4A43-8E6D-77C6D0C6D6C5}"/>
          </ac:spMkLst>
        </pc:spChg>
      </pc:sldChg>
      <pc:sldChg chg="addSp modSp">
        <pc:chgData name="Guest User" userId="S::urn:spo:anon#92e0bee1a612af7c1256e6aaf3dc4ec07c4151a598866b418723ef47912f2c2d::" providerId="AD" clId="Web-{E9683B36-356A-251A-A7E5-5E651CC0E5E2}" dt="2022-03-22T14:37:00.871" v="2790" actId="1076"/>
        <pc:sldMkLst>
          <pc:docMk/>
          <pc:sldMk cId="2486721525" sldId="341"/>
        </pc:sldMkLst>
        <pc:grpChg chg="add mod">
          <ac:chgData name="Guest User" userId="S::urn:spo:anon#92e0bee1a612af7c1256e6aaf3dc4ec07c4151a598866b418723ef47912f2c2d::" providerId="AD" clId="Web-{E9683B36-356A-251A-A7E5-5E651CC0E5E2}" dt="2022-03-22T14:37:00.871" v="2790" actId="1076"/>
          <ac:grpSpMkLst>
            <pc:docMk/>
            <pc:sldMk cId="2486721525" sldId="341"/>
            <ac:grpSpMk id="3" creationId="{04B4B9EF-39BF-81F3-070D-703E1C6BC8C8}"/>
          </ac:grpSpMkLst>
        </pc:grpChg>
      </pc:sldChg>
      <pc:sldChg chg="addSp modSp">
        <pc:chgData name="Guest User" userId="S::urn:spo:anon#92e0bee1a612af7c1256e6aaf3dc4ec07c4151a598866b418723ef47912f2c2d::" providerId="AD" clId="Web-{E9683B36-356A-251A-A7E5-5E651CC0E5E2}" dt="2022-03-22T14:28:39.956" v="2768"/>
        <pc:sldMkLst>
          <pc:docMk/>
          <pc:sldMk cId="4114424017" sldId="342"/>
        </pc:sldMkLst>
        <pc:spChg chg="add mod">
          <ac:chgData name="Guest User" userId="S::urn:spo:anon#92e0bee1a612af7c1256e6aaf3dc4ec07c4151a598866b418723ef47912f2c2d::" providerId="AD" clId="Web-{E9683B36-356A-251A-A7E5-5E651CC0E5E2}" dt="2022-03-22T14:27:31.484" v="2736" actId="1076"/>
          <ac:spMkLst>
            <pc:docMk/>
            <pc:sldMk cId="4114424017" sldId="342"/>
            <ac:spMk id="10" creationId="{1E2A4B75-E524-EFA9-4532-F0B3FBEAAAA7}"/>
          </ac:spMkLst>
        </pc:spChg>
        <pc:graphicFrameChg chg="mod modGraphic">
          <ac:chgData name="Guest User" userId="S::urn:spo:anon#92e0bee1a612af7c1256e6aaf3dc4ec07c4151a598866b418723ef47912f2c2d::" providerId="AD" clId="Web-{E9683B36-356A-251A-A7E5-5E651CC0E5E2}" dt="2022-03-22T14:28:39.956" v="2768"/>
          <ac:graphicFrameMkLst>
            <pc:docMk/>
            <pc:sldMk cId="4114424017" sldId="342"/>
            <ac:graphicFrameMk id="23" creationId="{F4A84191-3BFB-48AA-A343-19DE4EA3891C}"/>
          </ac:graphicFrameMkLst>
        </pc:graphicFrameChg>
      </pc:sldChg>
      <pc:sldChg chg="delSp modSp">
        <pc:chgData name="Guest User" userId="S::urn:spo:anon#92e0bee1a612af7c1256e6aaf3dc4ec07c4151a598866b418723ef47912f2c2d::" providerId="AD" clId="Web-{E9683B36-356A-251A-A7E5-5E651CC0E5E2}" dt="2022-03-22T15:30:29.966" v="2807" actId="20577"/>
        <pc:sldMkLst>
          <pc:docMk/>
          <pc:sldMk cId="211703589" sldId="343"/>
        </pc:sldMkLst>
        <pc:spChg chg="mod">
          <ac:chgData name="Guest User" userId="S::urn:spo:anon#92e0bee1a612af7c1256e6aaf3dc4ec07c4151a598866b418723ef47912f2c2d::" providerId="AD" clId="Web-{E9683B36-356A-251A-A7E5-5E651CC0E5E2}" dt="2022-03-22T15:30:29.966" v="2807" actId="20577"/>
          <ac:spMkLst>
            <pc:docMk/>
            <pc:sldMk cId="211703589" sldId="343"/>
            <ac:spMk id="6" creationId="{D1B67900-A55A-49E3-9F1F-6FA28D277895}"/>
          </ac:spMkLst>
        </pc:spChg>
        <pc:spChg chg="del mod">
          <ac:chgData name="Guest User" userId="S::urn:spo:anon#92e0bee1a612af7c1256e6aaf3dc4ec07c4151a598866b418723ef47912f2c2d::" providerId="AD" clId="Web-{E9683B36-356A-251A-A7E5-5E651CC0E5E2}" dt="2022-03-22T15:30:19.294" v="2805"/>
          <ac:spMkLst>
            <pc:docMk/>
            <pc:sldMk cId="211703589" sldId="343"/>
            <ac:spMk id="15" creationId="{5F6B97DE-9C1B-4986-AFF5-15EE2FB51B86}"/>
          </ac:spMkLst>
        </pc:spChg>
        <pc:spChg chg="mod">
          <ac:chgData name="Guest User" userId="S::urn:spo:anon#92e0bee1a612af7c1256e6aaf3dc4ec07c4151a598866b418723ef47912f2c2d::" providerId="AD" clId="Web-{E9683B36-356A-251A-A7E5-5E651CC0E5E2}" dt="2022-03-22T05:44:04.891" v="540" actId="1076"/>
          <ac:spMkLst>
            <pc:docMk/>
            <pc:sldMk cId="211703589" sldId="343"/>
            <ac:spMk id="16" creationId="{216B62F5-735A-46AD-A630-1057B3E9FDD5}"/>
          </ac:spMkLst>
        </pc:spChg>
      </pc:sldChg>
      <pc:sldChg chg="modSp">
        <pc:chgData name="Guest User" userId="S::urn:spo:anon#92e0bee1a612af7c1256e6aaf3dc4ec07c4151a598866b418723ef47912f2c2d::" providerId="AD" clId="Web-{E9683B36-356A-251A-A7E5-5E651CC0E5E2}" dt="2022-03-22T05:32:57.925" v="41" actId="20577"/>
        <pc:sldMkLst>
          <pc:docMk/>
          <pc:sldMk cId="1639760722" sldId="344"/>
        </pc:sldMkLst>
        <pc:spChg chg="mod">
          <ac:chgData name="Guest User" userId="S::urn:spo:anon#92e0bee1a612af7c1256e6aaf3dc4ec07c4151a598866b418723ef47912f2c2d::" providerId="AD" clId="Web-{E9683B36-356A-251A-A7E5-5E651CC0E5E2}" dt="2022-03-22T05:32:57.925" v="41" actId="20577"/>
          <ac:spMkLst>
            <pc:docMk/>
            <pc:sldMk cId="1639760722" sldId="344"/>
            <ac:spMk id="601" creationId="{00000000-0000-0000-0000-000000000000}"/>
          </ac:spMkLst>
        </pc:spChg>
      </pc:sldChg>
      <pc:sldChg chg="del">
        <pc:chgData name="Guest User" userId="S::urn:spo:anon#92e0bee1a612af7c1256e6aaf3dc4ec07c4151a598866b418723ef47912f2c2d::" providerId="AD" clId="Web-{E9683B36-356A-251A-A7E5-5E651CC0E5E2}" dt="2022-03-22T05:36:19.851" v="111"/>
        <pc:sldMkLst>
          <pc:docMk/>
          <pc:sldMk cId="1358823486" sldId="345"/>
        </pc:sldMkLst>
      </pc:sldChg>
      <pc:sldChg chg="delSp">
        <pc:chgData name="Guest User" userId="S::urn:spo:anon#92e0bee1a612af7c1256e6aaf3dc4ec07c4151a598866b418723ef47912f2c2d::" providerId="AD" clId="Web-{E9683B36-356A-251A-A7E5-5E651CC0E5E2}" dt="2022-03-22T15:28:40.898" v="2802"/>
        <pc:sldMkLst>
          <pc:docMk/>
          <pc:sldMk cId="2963563579" sldId="348"/>
        </pc:sldMkLst>
        <pc:spChg chg="del">
          <ac:chgData name="Guest User" userId="S::urn:spo:anon#92e0bee1a612af7c1256e6aaf3dc4ec07c4151a598866b418723ef47912f2c2d::" providerId="AD" clId="Web-{E9683B36-356A-251A-A7E5-5E651CC0E5E2}" dt="2022-03-22T15:28:40.898" v="2802"/>
          <ac:spMkLst>
            <pc:docMk/>
            <pc:sldMk cId="2963563579" sldId="348"/>
            <ac:spMk id="4" creationId="{24BB1A01-A250-4A43-8E6D-77C6D0C6D6C5}"/>
          </ac:spMkLst>
        </pc:spChg>
      </pc:sldChg>
      <pc:sldChg chg="addSp delSp modSp">
        <pc:chgData name="Guest User" userId="S::urn:spo:anon#92e0bee1a612af7c1256e6aaf3dc4ec07c4151a598866b418723ef47912f2c2d::" providerId="AD" clId="Web-{E9683B36-356A-251A-A7E5-5E651CC0E5E2}" dt="2022-03-22T14:35:04.616" v="2788"/>
        <pc:sldMkLst>
          <pc:docMk/>
          <pc:sldMk cId="754587697" sldId="352"/>
        </pc:sldMkLst>
        <pc:spChg chg="del">
          <ac:chgData name="Guest User" userId="S::urn:spo:anon#92e0bee1a612af7c1256e6aaf3dc4ec07c4151a598866b418723ef47912f2c2d::" providerId="AD" clId="Web-{E9683B36-356A-251A-A7E5-5E651CC0E5E2}" dt="2022-03-22T05:59:45.289" v="1685"/>
          <ac:spMkLst>
            <pc:docMk/>
            <pc:sldMk cId="754587697" sldId="352"/>
            <ac:spMk id="4" creationId="{974B56B3-82DE-42A0-B45B-EC8564BAA9EE}"/>
          </ac:spMkLst>
        </pc:spChg>
        <pc:spChg chg="del">
          <ac:chgData name="Guest User" userId="S::urn:spo:anon#92e0bee1a612af7c1256e6aaf3dc4ec07c4151a598866b418723ef47912f2c2d::" providerId="AD" clId="Web-{E9683B36-356A-251A-A7E5-5E651CC0E5E2}" dt="2022-03-22T05:56:43.203" v="1302"/>
          <ac:spMkLst>
            <pc:docMk/>
            <pc:sldMk cId="754587697" sldId="352"/>
            <ac:spMk id="13" creationId="{FC44DAA7-0D3C-4498-8DDC-BBB26660FE43}"/>
          </ac:spMkLst>
        </pc:spChg>
        <pc:graphicFrameChg chg="add del mod modGraphic">
          <ac:chgData name="Guest User" userId="S::urn:spo:anon#92e0bee1a612af7c1256e6aaf3dc4ec07c4151a598866b418723ef47912f2c2d::" providerId="AD" clId="Web-{E9683B36-356A-251A-A7E5-5E651CC0E5E2}" dt="2022-03-22T14:35:04.616" v="2788"/>
          <ac:graphicFrameMkLst>
            <pc:docMk/>
            <pc:sldMk cId="754587697" sldId="352"/>
            <ac:graphicFrameMk id="23" creationId="{F4A84191-3BFB-48AA-A343-19DE4EA3891C}"/>
          </ac:graphicFrameMkLst>
        </pc:graphicFrameChg>
      </pc:sldChg>
      <pc:sldChg chg="addSp delSp modSp">
        <pc:chgData name="Guest User" userId="S::urn:spo:anon#92e0bee1a612af7c1256e6aaf3dc4ec07c4151a598866b418723ef47912f2c2d::" providerId="AD" clId="Web-{E9683B36-356A-251A-A7E5-5E651CC0E5E2}" dt="2022-03-22T15:30:15.856" v="2804"/>
        <pc:sldMkLst>
          <pc:docMk/>
          <pc:sldMk cId="2527603155" sldId="353"/>
        </pc:sldMkLst>
        <pc:spChg chg="add">
          <ac:chgData name="Guest User" userId="S::urn:spo:anon#92e0bee1a612af7c1256e6aaf3dc4ec07c4151a598866b418723ef47912f2c2d::" providerId="AD" clId="Web-{E9683B36-356A-251A-A7E5-5E651CC0E5E2}" dt="2022-03-22T05:36:11.913" v="109"/>
          <ac:spMkLst>
            <pc:docMk/>
            <pc:sldMk cId="2527603155" sldId="353"/>
            <ac:spMk id="2" creationId="{608E690F-8CF2-4ABB-BEF4-B86D373DAFAD}"/>
          </ac:spMkLst>
        </pc:spChg>
        <pc:spChg chg="add">
          <ac:chgData name="Guest User" userId="S::urn:spo:anon#92e0bee1a612af7c1256e6aaf3dc4ec07c4151a598866b418723ef47912f2c2d::" providerId="AD" clId="Web-{E9683B36-356A-251A-A7E5-5E651CC0E5E2}" dt="2022-03-22T05:36:19.257" v="110"/>
          <ac:spMkLst>
            <pc:docMk/>
            <pc:sldMk cId="2527603155" sldId="353"/>
            <ac:spMk id="5" creationId="{55559F1F-251F-4635-8A0D-08A7ADA07273}"/>
          </ac:spMkLst>
        </pc:spChg>
        <pc:spChg chg="mod">
          <ac:chgData name="Guest User" userId="S::urn:spo:anon#92e0bee1a612af7c1256e6aaf3dc4ec07c4151a598866b418723ef47912f2c2d::" providerId="AD" clId="Web-{E9683B36-356A-251A-A7E5-5E651CC0E5E2}" dt="2022-03-22T05:36:38.117" v="115" actId="20577"/>
          <ac:spMkLst>
            <pc:docMk/>
            <pc:sldMk cId="2527603155" sldId="353"/>
            <ac:spMk id="9" creationId="{45C04764-F269-4F64-9737-7683A5D0C3C8}"/>
          </ac:spMkLst>
        </pc:spChg>
        <pc:spChg chg="mod">
          <ac:chgData name="Guest User" userId="S::urn:spo:anon#92e0bee1a612af7c1256e6aaf3dc4ec07c4151a598866b418723ef47912f2c2d::" providerId="AD" clId="Web-{E9683B36-356A-251A-A7E5-5E651CC0E5E2}" dt="2022-03-22T05:38:44.432" v="271" actId="20577"/>
          <ac:spMkLst>
            <pc:docMk/>
            <pc:sldMk cId="2527603155" sldId="353"/>
            <ac:spMk id="15" creationId="{1F301F17-C695-479F-8C1E-0A4D7A9FF58B}"/>
          </ac:spMkLst>
        </pc:spChg>
        <pc:spChg chg="mod">
          <ac:chgData name="Guest User" userId="S::urn:spo:anon#92e0bee1a612af7c1256e6aaf3dc4ec07c4151a598866b418723ef47912f2c2d::" providerId="AD" clId="Web-{E9683B36-356A-251A-A7E5-5E651CC0E5E2}" dt="2022-03-22T05:38:14.009" v="219" actId="20577"/>
          <ac:spMkLst>
            <pc:docMk/>
            <pc:sldMk cId="2527603155" sldId="353"/>
            <ac:spMk id="17" creationId="{1D0F6373-7FF4-F64B-A9FB-FA5D91D110D1}"/>
          </ac:spMkLst>
        </pc:spChg>
        <pc:spChg chg="add del">
          <ac:chgData name="Guest User" userId="S::urn:spo:anon#92e0bee1a612af7c1256e6aaf3dc4ec07c4151a598866b418723ef47912f2c2d::" providerId="AD" clId="Web-{E9683B36-356A-251A-A7E5-5E651CC0E5E2}" dt="2022-03-22T15:30:15.856" v="2804"/>
          <ac:spMkLst>
            <pc:docMk/>
            <pc:sldMk cId="2527603155" sldId="353"/>
            <ac:spMk id="20" creationId="{5441F631-FD75-4727-8B80-82A6281D549E}"/>
          </ac:spMkLst>
        </pc:spChg>
      </pc:sldChg>
      <pc:sldChg chg="modSp">
        <pc:chgData name="Guest User" userId="S::urn:spo:anon#92e0bee1a612af7c1256e6aaf3dc4ec07c4151a598866b418723ef47912f2c2d::" providerId="AD" clId="Web-{E9683B36-356A-251A-A7E5-5E651CC0E5E2}" dt="2022-03-22T05:32:59.738" v="48" actId="20577"/>
        <pc:sldMkLst>
          <pc:docMk/>
          <pc:sldMk cId="4017139295" sldId="356"/>
        </pc:sldMkLst>
        <pc:spChg chg="mod">
          <ac:chgData name="Guest User" userId="S::urn:spo:anon#92e0bee1a612af7c1256e6aaf3dc4ec07c4151a598866b418723ef47912f2c2d::" providerId="AD" clId="Web-{E9683B36-356A-251A-A7E5-5E651CC0E5E2}" dt="2022-03-22T05:32:59.738" v="48" actId="20577"/>
          <ac:spMkLst>
            <pc:docMk/>
            <pc:sldMk cId="4017139295" sldId="356"/>
            <ac:spMk id="601" creationId="{00000000-0000-0000-0000-000000000000}"/>
          </ac:spMkLst>
        </pc:spChg>
      </pc:sldChg>
      <pc:sldChg chg="modSp">
        <pc:chgData name="Guest User" userId="S::urn:spo:anon#92e0bee1a612af7c1256e6aaf3dc4ec07c4151a598866b418723ef47912f2c2d::" providerId="AD" clId="Web-{E9683B36-356A-251A-A7E5-5E651CC0E5E2}" dt="2022-03-22T05:33:04.488" v="50" actId="20577"/>
        <pc:sldMkLst>
          <pc:docMk/>
          <pc:sldMk cId="73800528" sldId="357"/>
        </pc:sldMkLst>
        <pc:spChg chg="mod">
          <ac:chgData name="Guest User" userId="S::urn:spo:anon#92e0bee1a612af7c1256e6aaf3dc4ec07c4151a598866b418723ef47912f2c2d::" providerId="AD" clId="Web-{E9683B36-356A-251A-A7E5-5E651CC0E5E2}" dt="2022-03-22T05:33:04.488" v="50" actId="20577"/>
          <ac:spMkLst>
            <pc:docMk/>
            <pc:sldMk cId="73800528" sldId="357"/>
            <ac:spMk id="601" creationId="{00000000-0000-0000-0000-000000000000}"/>
          </ac:spMkLst>
        </pc:spChg>
      </pc:sldChg>
    </pc:docChg>
  </pc:docChgLst>
  <pc:docChgLst>
    <pc:chgData name="Guest User" userId="S::urn:spo:anon#c437c167f923f422528aee73b5e70e5726914197d2dec7f210a84ae49e8498a7::" providerId="AD" clId="Web-{CE7F622B-F0C7-103A-7AA1-24DC39A3B41E}"/>
    <pc:docChg chg="modSld">
      <pc:chgData name="Guest User" userId="S::urn:spo:anon#c437c167f923f422528aee73b5e70e5726914197d2dec7f210a84ae49e8498a7::" providerId="AD" clId="Web-{CE7F622B-F0C7-103A-7AA1-24DC39A3B41E}" dt="2022-04-05T15:41:59.978" v="42"/>
      <pc:docMkLst>
        <pc:docMk/>
      </pc:docMkLst>
      <pc:sldChg chg="addSp modSp">
        <pc:chgData name="Guest User" userId="S::urn:spo:anon#c437c167f923f422528aee73b5e70e5726914197d2dec7f210a84ae49e8498a7::" providerId="AD" clId="Web-{CE7F622B-F0C7-103A-7AA1-24DC39A3B41E}" dt="2022-04-05T14:40:16.606" v="30" actId="14100"/>
        <pc:sldMkLst>
          <pc:docMk/>
          <pc:sldMk cId="2486721525" sldId="341"/>
        </pc:sldMkLst>
        <pc:spChg chg="add mod">
          <ac:chgData name="Guest User" userId="S::urn:spo:anon#c437c167f923f422528aee73b5e70e5726914197d2dec7f210a84ae49e8498a7::" providerId="AD" clId="Web-{CE7F622B-F0C7-103A-7AA1-24DC39A3B41E}" dt="2022-04-05T14:39:35.417" v="26" actId="1076"/>
          <ac:spMkLst>
            <pc:docMk/>
            <pc:sldMk cId="2486721525" sldId="341"/>
            <ac:spMk id="100" creationId="{5947DC3C-0898-F15B-1FFF-22C2270AF5A5}"/>
          </ac:spMkLst>
        </pc:spChg>
        <pc:spChg chg="mod">
          <ac:chgData name="Guest User" userId="S::urn:spo:anon#c437c167f923f422528aee73b5e70e5726914197d2dec7f210a84ae49e8498a7::" providerId="AD" clId="Web-{CE7F622B-F0C7-103A-7AA1-24DC39A3B41E}" dt="2022-04-05T14:40:03.777" v="29" actId="14100"/>
          <ac:spMkLst>
            <pc:docMk/>
            <pc:sldMk cId="2486721525" sldId="341"/>
            <ac:spMk id="101" creationId="{C490854A-3705-D3C2-CB0B-CA528B8E7892}"/>
          </ac:spMkLst>
        </pc:spChg>
        <pc:spChg chg="add mod">
          <ac:chgData name="Guest User" userId="S::urn:spo:anon#c437c167f923f422528aee73b5e70e5726914197d2dec7f210a84ae49e8498a7::" providerId="AD" clId="Web-{CE7F622B-F0C7-103A-7AA1-24DC39A3B41E}" dt="2022-04-05T14:39:28.995" v="25" actId="1076"/>
          <ac:spMkLst>
            <pc:docMk/>
            <pc:sldMk cId="2486721525" sldId="341"/>
            <ac:spMk id="104" creationId="{101460AC-09E4-C2F8-07D6-6ADD36E67708}"/>
          </ac:spMkLst>
        </pc:spChg>
        <pc:spChg chg="mod">
          <ac:chgData name="Guest User" userId="S::urn:spo:anon#c437c167f923f422528aee73b5e70e5726914197d2dec7f210a84ae49e8498a7::" providerId="AD" clId="Web-{CE7F622B-F0C7-103A-7AA1-24DC39A3B41E}" dt="2022-04-05T14:40:16.606" v="30" actId="14100"/>
          <ac:spMkLst>
            <pc:docMk/>
            <pc:sldMk cId="2486721525" sldId="341"/>
            <ac:spMk id="116" creationId="{473E579E-3692-41BD-8D3D-A49F032BB7D1}"/>
          </ac:spMkLst>
        </pc:spChg>
        <pc:spChg chg="mod">
          <ac:chgData name="Guest User" userId="S::urn:spo:anon#c437c167f923f422528aee73b5e70e5726914197d2dec7f210a84ae49e8498a7::" providerId="AD" clId="Web-{CE7F622B-F0C7-103A-7AA1-24DC39A3B41E}" dt="2022-04-05T14:39:47.449" v="28" actId="1076"/>
          <ac:spMkLst>
            <pc:docMk/>
            <pc:sldMk cId="2486721525" sldId="341"/>
            <ac:spMk id="401" creationId="{00000000-0000-0000-0000-000000000000}"/>
          </ac:spMkLst>
        </pc:spChg>
      </pc:sldChg>
      <pc:sldChg chg="delSp">
        <pc:chgData name="Guest User" userId="S::urn:spo:anon#c437c167f923f422528aee73b5e70e5726914197d2dec7f210a84ae49e8498a7::" providerId="AD" clId="Web-{CE7F622B-F0C7-103A-7AA1-24DC39A3B41E}" dt="2022-04-05T15:39:57.225" v="41"/>
        <pc:sldMkLst>
          <pc:docMk/>
          <pc:sldMk cId="2576879601" sldId="365"/>
        </pc:sldMkLst>
        <pc:grpChg chg="del">
          <ac:chgData name="Guest User" userId="S::urn:spo:anon#c437c167f923f422528aee73b5e70e5726914197d2dec7f210a84ae49e8498a7::" providerId="AD" clId="Web-{CE7F622B-F0C7-103A-7AA1-24DC39A3B41E}" dt="2022-04-05T15:39:57.225" v="41"/>
          <ac:grpSpMkLst>
            <pc:docMk/>
            <pc:sldMk cId="2576879601" sldId="365"/>
            <ac:grpSpMk id="6" creationId="{CDA401A3-B5D9-4D8E-8713-1475FCB432D9}"/>
          </ac:grpSpMkLst>
        </pc:grpChg>
      </pc:sldChg>
      <pc:sldChg chg="delSp modSp">
        <pc:chgData name="Guest User" userId="S::urn:spo:anon#c437c167f923f422528aee73b5e70e5726914197d2dec7f210a84ae49e8498a7::" providerId="AD" clId="Web-{CE7F622B-F0C7-103A-7AA1-24DC39A3B41E}" dt="2022-04-05T15:39:27.614" v="39"/>
        <pc:sldMkLst>
          <pc:docMk/>
          <pc:sldMk cId="1695560817" sldId="366"/>
        </pc:sldMkLst>
        <pc:spChg chg="mod">
          <ac:chgData name="Guest User" userId="S::urn:spo:anon#c437c167f923f422528aee73b5e70e5726914197d2dec7f210a84ae49e8498a7::" providerId="AD" clId="Web-{CE7F622B-F0C7-103A-7AA1-24DC39A3B41E}" dt="2022-04-05T15:39:20.067" v="37" actId="20577"/>
          <ac:spMkLst>
            <pc:docMk/>
            <pc:sldMk cId="1695560817" sldId="366"/>
            <ac:spMk id="77" creationId="{59AA964F-535A-41AE-BBDD-FB86C4B3BF5B}"/>
          </ac:spMkLst>
        </pc:spChg>
        <pc:spChg chg="mod">
          <ac:chgData name="Guest User" userId="S::urn:spo:anon#c437c167f923f422528aee73b5e70e5726914197d2dec7f210a84ae49e8498a7::" providerId="AD" clId="Web-{CE7F622B-F0C7-103A-7AA1-24DC39A3B41E}" dt="2022-04-05T15:39:23.364" v="38" actId="20577"/>
          <ac:spMkLst>
            <pc:docMk/>
            <pc:sldMk cId="1695560817" sldId="366"/>
            <ac:spMk id="79" creationId="{BDB6CD1D-98FC-4E44-8804-577B2AA4F1B1}"/>
          </ac:spMkLst>
        </pc:spChg>
        <pc:grpChg chg="del">
          <ac:chgData name="Guest User" userId="S::urn:spo:anon#c437c167f923f422528aee73b5e70e5726914197d2dec7f210a84ae49e8498a7::" providerId="AD" clId="Web-{CE7F622B-F0C7-103A-7AA1-24DC39A3B41E}" dt="2022-04-05T15:39:27.614" v="39"/>
          <ac:grpSpMkLst>
            <pc:docMk/>
            <pc:sldMk cId="1695560817" sldId="366"/>
            <ac:grpSpMk id="76" creationId="{CA6CC004-F525-49CA-BCE7-099A9404F0F3}"/>
          </ac:grpSpMkLst>
        </pc:grpChg>
      </pc:sldChg>
      <pc:sldChg chg="delSp">
        <pc:chgData name="Guest User" userId="S::urn:spo:anon#c437c167f923f422528aee73b5e70e5726914197d2dec7f210a84ae49e8498a7::" providerId="AD" clId="Web-{CE7F622B-F0C7-103A-7AA1-24DC39A3B41E}" dt="2022-04-05T15:41:59.978" v="42"/>
        <pc:sldMkLst>
          <pc:docMk/>
          <pc:sldMk cId="603633981" sldId="371"/>
        </pc:sldMkLst>
        <pc:spChg chg="del">
          <ac:chgData name="Guest User" userId="S::urn:spo:anon#c437c167f923f422528aee73b5e70e5726914197d2dec7f210a84ae49e8498a7::" providerId="AD" clId="Web-{CE7F622B-F0C7-103A-7AA1-24DC39A3B41E}" dt="2022-04-05T15:41:59.978" v="42"/>
          <ac:spMkLst>
            <pc:docMk/>
            <pc:sldMk cId="603633981" sldId="371"/>
            <ac:spMk id="10" creationId="{A698D7F4-3A03-4266-B816-9503033CB2A4}"/>
          </ac:spMkLst>
        </pc:spChg>
      </pc:sldChg>
      <pc:sldChg chg="delSp modSp">
        <pc:chgData name="Guest User" userId="S::urn:spo:anon#c437c167f923f422528aee73b5e70e5726914197d2dec7f210a84ae49e8498a7::" providerId="AD" clId="Web-{CE7F622B-F0C7-103A-7AA1-24DC39A3B41E}" dt="2022-04-05T15:39:34.411" v="40"/>
        <pc:sldMkLst>
          <pc:docMk/>
          <pc:sldMk cId="3514561185" sldId="374"/>
        </pc:sldMkLst>
        <pc:grpChg chg="del">
          <ac:chgData name="Guest User" userId="S::urn:spo:anon#c437c167f923f422528aee73b5e70e5726914197d2dec7f210a84ae49e8498a7::" providerId="AD" clId="Web-{CE7F622B-F0C7-103A-7AA1-24DC39A3B41E}" dt="2022-04-05T15:39:34.411" v="40"/>
          <ac:grpSpMkLst>
            <pc:docMk/>
            <pc:sldMk cId="3514561185" sldId="374"/>
            <ac:grpSpMk id="12" creationId="{1DB4AE3A-FFA1-4FED-BE8F-2B855320F289}"/>
          </ac:grpSpMkLst>
        </pc:grpChg>
        <pc:picChg chg="mod">
          <ac:chgData name="Guest User" userId="S::urn:spo:anon#c437c167f923f422528aee73b5e70e5726914197d2dec7f210a84ae49e8498a7::" providerId="AD" clId="Web-{CE7F622B-F0C7-103A-7AA1-24DC39A3B41E}" dt="2022-04-05T14:55:42.400" v="31" actId="1076"/>
          <ac:picMkLst>
            <pc:docMk/>
            <pc:sldMk cId="3514561185" sldId="374"/>
            <ac:picMk id="5" creationId="{9166FA4B-85C9-5893-22DC-EC6CE43E7204}"/>
          </ac:picMkLst>
        </pc:picChg>
      </pc:sldChg>
      <pc:sldChg chg="modSp">
        <pc:chgData name="Guest User" userId="S::urn:spo:anon#c437c167f923f422528aee73b5e70e5726914197d2dec7f210a84ae49e8498a7::" providerId="AD" clId="Web-{CE7F622B-F0C7-103A-7AA1-24DC39A3B41E}" dt="2022-04-05T14:57:58.279" v="34" actId="1076"/>
        <pc:sldMkLst>
          <pc:docMk/>
          <pc:sldMk cId="604654217" sldId="375"/>
        </pc:sldMkLst>
        <pc:cxnChg chg="mod">
          <ac:chgData name="Guest User" userId="S::urn:spo:anon#c437c167f923f422528aee73b5e70e5726914197d2dec7f210a84ae49e8498a7::" providerId="AD" clId="Web-{CE7F622B-F0C7-103A-7AA1-24DC39A3B41E}" dt="2022-04-05T14:57:58.279" v="34" actId="1076"/>
          <ac:cxnSpMkLst>
            <pc:docMk/>
            <pc:sldMk cId="604654217" sldId="375"/>
            <ac:cxnSpMk id="11" creationId="{80DA06C6-E09C-08BC-D6FB-BC20D8957044}"/>
          </ac:cxnSpMkLst>
        </pc:cxnChg>
        <pc:cxnChg chg="mod">
          <ac:chgData name="Guest User" userId="S::urn:spo:anon#c437c167f923f422528aee73b5e70e5726914197d2dec7f210a84ae49e8498a7::" providerId="AD" clId="Web-{CE7F622B-F0C7-103A-7AA1-24DC39A3B41E}" dt="2022-04-05T14:57:52.513" v="33" actId="1076"/>
          <ac:cxnSpMkLst>
            <pc:docMk/>
            <pc:sldMk cId="604654217" sldId="375"/>
            <ac:cxnSpMk id="12" creationId="{77793D15-5876-2206-449B-4B1F41AFE012}"/>
          </ac:cxnSpMkLst>
        </pc:cxnChg>
        <pc:cxnChg chg="mod">
          <ac:chgData name="Guest User" userId="S::urn:spo:anon#c437c167f923f422528aee73b5e70e5726914197d2dec7f210a84ae49e8498a7::" providerId="AD" clId="Web-{CE7F622B-F0C7-103A-7AA1-24DC39A3B41E}" dt="2022-04-05T14:57:45.450" v="32" actId="1076"/>
          <ac:cxnSpMkLst>
            <pc:docMk/>
            <pc:sldMk cId="604654217" sldId="375"/>
            <ac:cxnSpMk id="13" creationId="{70D6C415-5AB0-50A0-6B7B-F91A78ED3D34}"/>
          </ac:cxnSpMkLst>
        </pc:cxnChg>
      </pc:sldChg>
    </pc:docChg>
  </pc:docChgLst>
  <pc:docChgLst>
    <pc:chgData name="Guest User" userId="S::urn:spo:anon#c437c167f923f422528aee73b5e70e5726914197d2dec7f210a84ae49e8498a7::" providerId="AD" clId="Web-{8DAAB175-7234-79FD-431D-8A7341E0D235}"/>
    <pc:docChg chg="modSld">
      <pc:chgData name="Guest User" userId="S::urn:spo:anon#c437c167f923f422528aee73b5e70e5726914197d2dec7f210a84ae49e8498a7::" providerId="AD" clId="Web-{8DAAB175-7234-79FD-431D-8A7341E0D235}" dt="2022-04-05T17:36:24.950" v="6" actId="1076"/>
      <pc:docMkLst>
        <pc:docMk/>
      </pc:docMkLst>
      <pc:sldChg chg="modSp">
        <pc:chgData name="Guest User" userId="S::urn:spo:anon#c437c167f923f422528aee73b5e70e5726914197d2dec7f210a84ae49e8498a7::" providerId="AD" clId="Web-{8DAAB175-7234-79FD-431D-8A7341E0D235}" dt="2022-04-05T17:34:44.853" v="2" actId="20577"/>
        <pc:sldMkLst>
          <pc:docMk/>
          <pc:sldMk cId="0" sldId="257"/>
        </pc:sldMkLst>
        <pc:spChg chg="mod">
          <ac:chgData name="Guest User" userId="S::urn:spo:anon#c437c167f923f422528aee73b5e70e5726914197d2dec7f210a84ae49e8498a7::" providerId="AD" clId="Web-{8DAAB175-7234-79FD-431D-8A7341E0D235}" dt="2022-04-05T17:34:44.853" v="2" actId="20577"/>
          <ac:spMkLst>
            <pc:docMk/>
            <pc:sldMk cId="0" sldId="257"/>
            <ac:spMk id="44" creationId="{28E8AA2B-7E30-48CF-86E4-5464130C7279}"/>
          </ac:spMkLst>
        </pc:spChg>
      </pc:sldChg>
      <pc:sldChg chg="modSp">
        <pc:chgData name="Guest User" userId="S::urn:spo:anon#c437c167f923f422528aee73b5e70e5726914197d2dec7f210a84ae49e8498a7::" providerId="AD" clId="Web-{8DAAB175-7234-79FD-431D-8A7341E0D235}" dt="2022-04-05T17:36:24.950" v="6" actId="1076"/>
        <pc:sldMkLst>
          <pc:docMk/>
          <pc:sldMk cId="2486721525" sldId="341"/>
        </pc:sldMkLst>
        <pc:spChg chg="mod">
          <ac:chgData name="Guest User" userId="S::urn:spo:anon#c437c167f923f422528aee73b5e70e5726914197d2dec7f210a84ae49e8498a7::" providerId="AD" clId="Web-{8DAAB175-7234-79FD-431D-8A7341E0D235}" dt="2022-04-05T17:36:06.246" v="3" actId="1076"/>
          <ac:spMkLst>
            <pc:docMk/>
            <pc:sldMk cId="2486721525" sldId="341"/>
            <ac:spMk id="124" creationId="{3927D24C-3D9A-49E6-98C6-9726B7661B81}"/>
          </ac:spMkLst>
        </pc:spChg>
        <pc:spChg chg="mod">
          <ac:chgData name="Guest User" userId="S::urn:spo:anon#c437c167f923f422528aee73b5e70e5726914197d2dec7f210a84ae49e8498a7::" providerId="AD" clId="Web-{8DAAB175-7234-79FD-431D-8A7341E0D235}" dt="2022-04-05T17:36:24.950" v="6" actId="1076"/>
          <ac:spMkLst>
            <pc:docMk/>
            <pc:sldMk cId="2486721525" sldId="341"/>
            <ac:spMk id="125" creationId="{3E514B59-F9C8-4C76-973B-1F2C3AB2226B}"/>
          </ac:spMkLst>
        </pc:spChg>
      </pc:sldChg>
    </pc:docChg>
  </pc:docChgLst>
  <pc:docChgLst>
    <pc:chgData name="Guest User" userId="S::urn:spo:anon#bc72e6c931b442e1b83d9d7baffb28dcb7bee849e2d9a5e2bb7cc25170a1c113::" providerId="AD" clId="Web-{24BC702D-6B48-C616-32E0-C39C1B0B0721}"/>
    <pc:docChg chg="modSld">
      <pc:chgData name="Guest User" userId="S::urn:spo:anon#bc72e6c931b442e1b83d9d7baffb28dcb7bee849e2d9a5e2bb7cc25170a1c113::" providerId="AD" clId="Web-{24BC702D-6B48-C616-32E0-C39C1B0B0721}" dt="2022-03-22T08:27:17.108" v="8" actId="1076"/>
      <pc:docMkLst>
        <pc:docMk/>
      </pc:docMkLst>
      <pc:sldChg chg="modSp">
        <pc:chgData name="Guest User" userId="S::urn:spo:anon#bc72e6c931b442e1b83d9d7baffb28dcb7bee849e2d9a5e2bb7cc25170a1c113::" providerId="AD" clId="Web-{24BC702D-6B48-C616-32E0-C39C1B0B0721}" dt="2022-03-22T08:27:17.108" v="8" actId="1076"/>
        <pc:sldMkLst>
          <pc:docMk/>
          <pc:sldMk cId="2486721525" sldId="341"/>
        </pc:sldMkLst>
        <pc:spChg chg="mod">
          <ac:chgData name="Guest User" userId="S::urn:spo:anon#bc72e6c931b442e1b83d9d7baffb28dcb7bee849e2d9a5e2bb7cc25170a1c113::" providerId="AD" clId="Web-{24BC702D-6B48-C616-32E0-C39C1B0B0721}" dt="2022-03-22T08:26:46.685" v="4" actId="1076"/>
          <ac:spMkLst>
            <pc:docMk/>
            <pc:sldMk cId="2486721525" sldId="341"/>
            <ac:spMk id="376" creationId="{00000000-0000-0000-0000-000000000000}"/>
          </ac:spMkLst>
        </pc:spChg>
        <pc:spChg chg="mod">
          <ac:chgData name="Guest User" userId="S::urn:spo:anon#bc72e6c931b442e1b83d9d7baffb28dcb7bee849e2d9a5e2bb7cc25170a1c113::" providerId="AD" clId="Web-{24BC702D-6B48-C616-32E0-C39C1B0B0721}" dt="2022-03-22T08:27:04.014" v="6" actId="1076"/>
          <ac:spMkLst>
            <pc:docMk/>
            <pc:sldMk cId="2486721525" sldId="341"/>
            <ac:spMk id="377" creationId="{00000000-0000-0000-0000-000000000000}"/>
          </ac:spMkLst>
        </pc:spChg>
        <pc:spChg chg="mod">
          <ac:chgData name="Guest User" userId="S::urn:spo:anon#bc72e6c931b442e1b83d9d7baffb28dcb7bee849e2d9a5e2bb7cc25170a1c113::" providerId="AD" clId="Web-{24BC702D-6B48-C616-32E0-C39C1B0B0721}" dt="2022-03-22T08:25:55.168" v="0" actId="1076"/>
          <ac:spMkLst>
            <pc:docMk/>
            <pc:sldMk cId="2486721525" sldId="341"/>
            <ac:spMk id="384" creationId="{00000000-0000-0000-0000-000000000000}"/>
          </ac:spMkLst>
        </pc:spChg>
        <pc:spChg chg="mod">
          <ac:chgData name="Guest User" userId="S::urn:spo:anon#bc72e6c931b442e1b83d9d7baffb28dcb7bee849e2d9a5e2bb7cc25170a1c113::" providerId="AD" clId="Web-{24BC702D-6B48-C616-32E0-C39C1B0B0721}" dt="2022-03-22T08:27:10.232" v="7" actId="1076"/>
          <ac:spMkLst>
            <pc:docMk/>
            <pc:sldMk cId="2486721525" sldId="341"/>
            <ac:spMk id="426" creationId="{00000000-0000-0000-0000-000000000000}"/>
          </ac:spMkLst>
        </pc:spChg>
        <pc:cxnChg chg="mod">
          <ac:chgData name="Guest User" userId="S::urn:spo:anon#bc72e6c931b442e1b83d9d7baffb28dcb7bee849e2d9a5e2bb7cc25170a1c113::" providerId="AD" clId="Web-{24BC702D-6B48-C616-32E0-C39C1B0B0721}" dt="2022-03-22T08:27:17.108" v="8" actId="1076"/>
          <ac:cxnSpMkLst>
            <pc:docMk/>
            <pc:sldMk cId="2486721525" sldId="341"/>
            <ac:cxnSpMk id="390" creationId="{00000000-0000-0000-0000-000000000000}"/>
          </ac:cxnSpMkLst>
        </pc:cxnChg>
      </pc:sldChg>
    </pc:docChg>
  </pc:docChgLst>
  <pc:docChgLst>
    <pc:chgData name="Guest User" userId="S::urn:spo:anon#c437c167f923f422528aee73b5e70e5726914197d2dec7f210a84ae49e8498a7::" providerId="AD" clId="Web-{B8CFBAE6-F3AC-0CFE-3F62-3BE91E994F7C}"/>
    <pc:docChg chg="modSld">
      <pc:chgData name="Guest User" userId="S::urn:spo:anon#c437c167f923f422528aee73b5e70e5726914197d2dec7f210a84ae49e8498a7::" providerId="AD" clId="Web-{B8CFBAE6-F3AC-0CFE-3F62-3BE91E994F7C}" dt="2022-04-05T16:54:03.790" v="405" actId="20577"/>
      <pc:docMkLst>
        <pc:docMk/>
      </pc:docMkLst>
      <pc:sldChg chg="delSp modSp">
        <pc:chgData name="Guest User" userId="S::urn:spo:anon#c437c167f923f422528aee73b5e70e5726914197d2dec7f210a84ae49e8498a7::" providerId="AD" clId="Web-{B8CFBAE6-F3AC-0CFE-3F62-3BE91E994F7C}" dt="2022-04-05T15:38:57.573" v="388"/>
        <pc:sldMkLst>
          <pc:docMk/>
          <pc:sldMk cId="0" sldId="264"/>
        </pc:sldMkLst>
        <pc:spChg chg="del">
          <ac:chgData name="Guest User" userId="S::urn:spo:anon#c437c167f923f422528aee73b5e70e5726914197d2dec7f210a84ae49e8498a7::" providerId="AD" clId="Web-{B8CFBAE6-F3AC-0CFE-3F62-3BE91E994F7C}" dt="2022-04-05T15:38:57.573" v="388"/>
          <ac:spMkLst>
            <pc:docMk/>
            <pc:sldMk cId="0" sldId="264"/>
            <ac:spMk id="2" creationId="{F6BBEB41-92FB-4F29-AAB3-55FCF4F92B4B}"/>
          </ac:spMkLst>
        </pc:spChg>
        <pc:spChg chg="mod">
          <ac:chgData name="Guest User" userId="S::urn:spo:anon#c437c167f923f422528aee73b5e70e5726914197d2dec7f210a84ae49e8498a7::" providerId="AD" clId="Web-{B8CFBAE6-F3AC-0CFE-3F62-3BE91E994F7C}" dt="2022-04-05T15:38:50.432" v="386" actId="20577"/>
          <ac:spMkLst>
            <pc:docMk/>
            <pc:sldMk cId="0" sldId="264"/>
            <ac:spMk id="29" creationId="{CE4534C1-122C-4584-960F-B0117C9A488A}"/>
          </ac:spMkLst>
        </pc:spChg>
        <pc:spChg chg="mod">
          <ac:chgData name="Guest User" userId="S::urn:spo:anon#c437c167f923f422528aee73b5e70e5726914197d2dec7f210a84ae49e8498a7::" providerId="AD" clId="Web-{B8CFBAE6-F3AC-0CFE-3F62-3BE91E994F7C}" dt="2022-04-05T15:38:54.025" v="387" actId="14100"/>
          <ac:spMkLst>
            <pc:docMk/>
            <pc:sldMk cId="0" sldId="264"/>
            <ac:spMk id="467" creationId="{00000000-0000-0000-0000-000000000000}"/>
          </ac:spMkLst>
        </pc:spChg>
      </pc:sldChg>
      <pc:sldChg chg="addSp modSp">
        <pc:chgData name="Guest User" userId="S::urn:spo:anon#c437c167f923f422528aee73b5e70e5726914197d2dec7f210a84ae49e8498a7::" providerId="AD" clId="Web-{B8CFBAE6-F3AC-0CFE-3F62-3BE91E994F7C}" dt="2022-04-05T14:11:19.722" v="164"/>
        <pc:sldMkLst>
          <pc:docMk/>
          <pc:sldMk cId="2576879601" sldId="365"/>
        </pc:sldMkLst>
        <pc:spChg chg="mod">
          <ac:chgData name="Guest User" userId="S::urn:spo:anon#c437c167f923f422528aee73b5e70e5726914197d2dec7f210a84ae49e8498a7::" providerId="AD" clId="Web-{B8CFBAE6-F3AC-0CFE-3F62-3BE91E994F7C}" dt="2022-04-05T14:10:52.862" v="159" actId="1076"/>
          <ac:spMkLst>
            <pc:docMk/>
            <pc:sldMk cId="2576879601" sldId="365"/>
            <ac:spMk id="3" creationId="{346B9D98-5C00-250F-2E85-76FD3A920D22}"/>
          </ac:spMkLst>
        </pc:spChg>
        <pc:spChg chg="add">
          <ac:chgData name="Guest User" userId="S::urn:spo:anon#c437c167f923f422528aee73b5e70e5726914197d2dec7f210a84ae49e8498a7::" providerId="AD" clId="Web-{B8CFBAE6-F3AC-0CFE-3F62-3BE91E994F7C}" dt="2022-04-05T14:11:19.722" v="164"/>
          <ac:spMkLst>
            <pc:docMk/>
            <pc:sldMk cId="2576879601" sldId="365"/>
            <ac:spMk id="10" creationId="{998B1D59-BF40-7A3E-C5E1-52C40461FAA8}"/>
          </ac:spMkLst>
        </pc:spChg>
      </pc:sldChg>
      <pc:sldChg chg="addSp delSp modSp">
        <pc:chgData name="Guest User" userId="S::urn:spo:anon#c437c167f923f422528aee73b5e70e5726914197d2dec7f210a84ae49e8498a7::" providerId="AD" clId="Web-{B8CFBAE6-F3AC-0CFE-3F62-3BE91E994F7C}" dt="2022-04-05T16:53:13.929" v="404"/>
        <pc:sldMkLst>
          <pc:docMk/>
          <pc:sldMk cId="1695560817" sldId="366"/>
        </pc:sldMkLst>
        <pc:spChg chg="add">
          <ac:chgData name="Guest User" userId="S::urn:spo:anon#c437c167f923f422528aee73b5e70e5726914197d2dec7f210a84ae49e8498a7::" providerId="AD" clId="Web-{B8CFBAE6-F3AC-0CFE-3F62-3BE91E994F7C}" dt="2022-04-05T14:11:15.738" v="163"/>
          <ac:spMkLst>
            <pc:docMk/>
            <pc:sldMk cId="1695560817" sldId="366"/>
            <ac:spMk id="6" creationId="{E748C5ED-C778-8D35-B701-D92CD51D7C71}"/>
          </ac:spMkLst>
        </pc:spChg>
        <pc:spChg chg="mod">
          <ac:chgData name="Guest User" userId="S::urn:spo:anon#c437c167f923f422528aee73b5e70e5726914197d2dec7f210a84ae49e8498a7::" providerId="AD" clId="Web-{B8CFBAE6-F3AC-0CFE-3F62-3BE91E994F7C}" dt="2022-04-05T16:52:13.818" v="391" actId="1076"/>
          <ac:spMkLst>
            <pc:docMk/>
            <pc:sldMk cId="1695560817" sldId="366"/>
            <ac:spMk id="7" creationId="{13934D1C-6E4A-EDA6-05C5-4249C9B8C8B5}"/>
          </ac:spMkLst>
        </pc:spChg>
        <pc:spChg chg="mod">
          <ac:chgData name="Guest User" userId="S::urn:spo:anon#c437c167f923f422528aee73b5e70e5726914197d2dec7f210a84ae49e8498a7::" providerId="AD" clId="Web-{B8CFBAE6-F3AC-0CFE-3F62-3BE91E994F7C}" dt="2022-04-05T16:52:17.772" v="392" actId="1076"/>
          <ac:spMkLst>
            <pc:docMk/>
            <pc:sldMk cId="1695560817" sldId="366"/>
            <ac:spMk id="63" creationId="{74696D9C-DE03-D7F7-3DBD-BFACA06BDEE1}"/>
          </ac:spMkLst>
        </pc:spChg>
        <pc:spChg chg="add del mod">
          <ac:chgData name="Guest User" userId="S::urn:spo:anon#c437c167f923f422528aee73b5e70e5726914197d2dec7f210a84ae49e8498a7::" providerId="AD" clId="Web-{B8CFBAE6-F3AC-0CFE-3F62-3BE91E994F7C}" dt="2022-04-05T16:53:13.929" v="404"/>
          <ac:spMkLst>
            <pc:docMk/>
            <pc:sldMk cId="1695560817" sldId="366"/>
            <ac:spMk id="64" creationId="{EAE4B902-032D-3FB4-3C40-3FEE3AA77EA2}"/>
          </ac:spMkLst>
        </pc:spChg>
      </pc:sldChg>
      <pc:sldChg chg="addSp delSp modSp">
        <pc:chgData name="Guest User" userId="S::urn:spo:anon#c437c167f923f422528aee73b5e70e5726914197d2dec7f210a84ae49e8498a7::" providerId="AD" clId="Web-{B8CFBAE6-F3AC-0CFE-3F62-3BE91E994F7C}" dt="2022-04-05T16:54:03.790" v="405" actId="20577"/>
        <pc:sldMkLst>
          <pc:docMk/>
          <pc:sldMk cId="3762238417" sldId="367"/>
        </pc:sldMkLst>
        <pc:spChg chg="mod">
          <ac:chgData name="Guest User" userId="S::urn:spo:anon#c437c167f923f422528aee73b5e70e5726914197d2dec7f210a84ae49e8498a7::" providerId="AD" clId="Web-{B8CFBAE6-F3AC-0CFE-3F62-3BE91E994F7C}" dt="2022-04-05T14:17:30.306" v="238" actId="20577"/>
          <ac:spMkLst>
            <pc:docMk/>
            <pc:sldMk cId="3762238417" sldId="367"/>
            <ac:spMk id="3" creationId="{346B9D98-5C00-250F-2E85-76FD3A920D22}"/>
          </ac:spMkLst>
        </pc:spChg>
        <pc:spChg chg="mod">
          <ac:chgData name="Guest User" userId="S::urn:spo:anon#c437c167f923f422528aee73b5e70e5726914197d2dec7f210a84ae49e8498a7::" providerId="AD" clId="Web-{B8CFBAE6-F3AC-0CFE-3F62-3BE91E994F7C}" dt="2022-04-05T16:54:03.790" v="405" actId="20577"/>
          <ac:spMkLst>
            <pc:docMk/>
            <pc:sldMk cId="3762238417" sldId="367"/>
            <ac:spMk id="5" creationId="{36D64229-262E-4A6E-9C18-00F422DCB439}"/>
          </ac:spMkLst>
        </pc:spChg>
        <pc:spChg chg="add">
          <ac:chgData name="Guest User" userId="S::urn:spo:anon#c437c167f923f422528aee73b5e70e5726914197d2dec7f210a84ae49e8498a7::" providerId="AD" clId="Web-{B8CFBAE6-F3AC-0CFE-3F62-3BE91E994F7C}" dt="2022-04-05T14:11:26.285" v="166"/>
          <ac:spMkLst>
            <pc:docMk/>
            <pc:sldMk cId="3762238417" sldId="367"/>
            <ac:spMk id="10" creationId="{1E5EB53C-4C7C-0E54-81CD-8BA7C0A66A7F}"/>
          </ac:spMkLst>
        </pc:spChg>
        <pc:spChg chg="del">
          <ac:chgData name="Guest User" userId="S::urn:spo:anon#c437c167f923f422528aee73b5e70e5726914197d2dec7f210a84ae49e8498a7::" providerId="AD" clId="Web-{B8CFBAE6-F3AC-0CFE-3F62-3BE91E994F7C}" dt="2022-04-05T13:21:21.053" v="110"/>
          <ac:spMkLst>
            <pc:docMk/>
            <pc:sldMk cId="3762238417" sldId="367"/>
            <ac:spMk id="11" creationId="{CBD3480E-29E4-CF16-7FAC-4FDE84110F7D}"/>
          </ac:spMkLst>
        </pc:spChg>
        <pc:spChg chg="add mod">
          <ac:chgData name="Guest User" userId="S::urn:spo:anon#c437c167f923f422528aee73b5e70e5726914197d2dec7f210a84ae49e8498a7::" providerId="AD" clId="Web-{B8CFBAE6-F3AC-0CFE-3F62-3BE91E994F7C}" dt="2022-04-05T14:13:40.887" v="189" actId="1076"/>
          <ac:spMkLst>
            <pc:docMk/>
            <pc:sldMk cId="3762238417" sldId="367"/>
            <ac:spMk id="12" creationId="{33B203BF-E480-8FAF-0565-392D3EFF8B4E}"/>
          </ac:spMkLst>
        </pc:spChg>
      </pc:sldChg>
      <pc:sldChg chg="modSp">
        <pc:chgData name="Guest User" userId="S::urn:spo:anon#c437c167f923f422528aee73b5e70e5726914197d2dec7f210a84ae49e8498a7::" providerId="AD" clId="Web-{B8CFBAE6-F3AC-0CFE-3F62-3BE91E994F7C}" dt="2022-04-05T14:06:58.536" v="149" actId="20577"/>
        <pc:sldMkLst>
          <pc:docMk/>
          <pc:sldMk cId="3514561185" sldId="374"/>
        </pc:sldMkLst>
        <pc:spChg chg="mod">
          <ac:chgData name="Guest User" userId="S::urn:spo:anon#c437c167f923f422528aee73b5e70e5726914197d2dec7f210a84ae49e8498a7::" providerId="AD" clId="Web-{B8CFBAE6-F3AC-0CFE-3F62-3BE91E994F7C}" dt="2022-04-05T14:06:58.536" v="149" actId="20577"/>
          <ac:spMkLst>
            <pc:docMk/>
            <pc:sldMk cId="3514561185" sldId="374"/>
            <ac:spMk id="331" creationId="{00000000-0000-0000-0000-000000000000}"/>
          </ac:spMkLst>
        </pc:spChg>
      </pc:sldChg>
      <pc:sldChg chg="addSp">
        <pc:chgData name="Guest User" userId="S::urn:spo:anon#c437c167f923f422528aee73b5e70e5726914197d2dec7f210a84ae49e8498a7::" providerId="AD" clId="Web-{B8CFBAE6-F3AC-0CFE-3F62-3BE91E994F7C}" dt="2022-04-05T14:11:31.770" v="168"/>
        <pc:sldMkLst>
          <pc:docMk/>
          <pc:sldMk cId="604654217" sldId="375"/>
        </pc:sldMkLst>
        <pc:spChg chg="add">
          <ac:chgData name="Guest User" userId="S::urn:spo:anon#c437c167f923f422528aee73b5e70e5726914197d2dec7f210a84ae49e8498a7::" providerId="AD" clId="Web-{B8CFBAE6-F3AC-0CFE-3F62-3BE91E994F7C}" dt="2022-04-05T14:11:31.770" v="168"/>
          <ac:spMkLst>
            <pc:docMk/>
            <pc:sldMk cId="604654217" sldId="375"/>
            <ac:spMk id="9" creationId="{1673559D-641B-CEF7-656B-BA67BB200460}"/>
          </ac:spMkLst>
        </pc:spChg>
      </pc:sldChg>
      <pc:sldChg chg="addSp delSp modSp">
        <pc:chgData name="Guest User" userId="S::urn:spo:anon#c437c167f923f422528aee73b5e70e5726914197d2dec7f210a84ae49e8498a7::" providerId="AD" clId="Web-{B8CFBAE6-F3AC-0CFE-3F62-3BE91E994F7C}" dt="2022-04-05T14:25:48.053" v="379" actId="20577"/>
        <pc:sldMkLst>
          <pc:docMk/>
          <pc:sldMk cId="3117050842" sldId="377"/>
        </pc:sldMkLst>
        <pc:spChg chg="del">
          <ac:chgData name="Guest User" userId="S::urn:spo:anon#c437c167f923f422528aee73b5e70e5726914197d2dec7f210a84ae49e8498a7::" providerId="AD" clId="Web-{B8CFBAE6-F3AC-0CFE-3F62-3BE91E994F7C}" dt="2022-04-05T14:11:54.256" v="169"/>
          <ac:spMkLst>
            <pc:docMk/>
            <pc:sldMk cId="3117050842" sldId="377"/>
            <ac:spMk id="3" creationId="{346B9D98-5C00-250F-2E85-76FD3A920D22}"/>
          </ac:spMkLst>
        </pc:spChg>
        <pc:spChg chg="mod">
          <ac:chgData name="Guest User" userId="S::urn:spo:anon#c437c167f923f422528aee73b5e70e5726914197d2dec7f210a84ae49e8498a7::" providerId="AD" clId="Web-{B8CFBAE6-F3AC-0CFE-3F62-3BE91E994F7C}" dt="2022-04-05T14:24:01.609" v="342" actId="14100"/>
          <ac:spMkLst>
            <pc:docMk/>
            <pc:sldMk cId="3117050842" sldId="377"/>
            <ac:spMk id="5" creationId="{36D64229-262E-4A6E-9C18-00F422DCB439}"/>
          </ac:spMkLst>
        </pc:spChg>
        <pc:spChg chg="mod">
          <ac:chgData name="Guest User" userId="S::urn:spo:anon#c437c167f923f422528aee73b5e70e5726914197d2dec7f210a84ae49e8498a7::" providerId="AD" clId="Web-{B8CFBAE6-F3AC-0CFE-3F62-3BE91E994F7C}" dt="2022-04-05T14:24:20.767" v="346" actId="1076"/>
          <ac:spMkLst>
            <pc:docMk/>
            <pc:sldMk cId="3117050842" sldId="377"/>
            <ac:spMk id="9" creationId="{A559BC09-4387-488E-85BC-CBE75B1CE17C}"/>
          </ac:spMkLst>
        </pc:spChg>
        <pc:spChg chg="add">
          <ac:chgData name="Guest User" userId="S::urn:spo:anon#c437c167f923f422528aee73b5e70e5726914197d2dec7f210a84ae49e8498a7::" providerId="AD" clId="Web-{B8CFBAE6-F3AC-0CFE-3F62-3BE91E994F7C}" dt="2022-04-05T14:11:28.895" v="167"/>
          <ac:spMkLst>
            <pc:docMk/>
            <pc:sldMk cId="3117050842" sldId="377"/>
            <ac:spMk id="10" creationId="{1F441183-42F9-8DED-0F26-2ADE8FD64C41}"/>
          </ac:spMkLst>
        </pc:spChg>
        <pc:spChg chg="mod">
          <ac:chgData name="Guest User" userId="S::urn:spo:anon#c437c167f923f422528aee73b5e70e5726914197d2dec7f210a84ae49e8498a7::" providerId="AD" clId="Web-{B8CFBAE6-F3AC-0CFE-3F62-3BE91E994F7C}" dt="2022-04-05T14:24:16.829" v="345" actId="14100"/>
          <ac:spMkLst>
            <pc:docMk/>
            <pc:sldMk cId="3117050842" sldId="377"/>
            <ac:spMk id="11" creationId="{C1418990-22FB-4D1F-EAB1-69EB1F676AC0}"/>
          </ac:spMkLst>
        </pc:spChg>
        <pc:spChg chg="mod">
          <ac:chgData name="Guest User" userId="S::urn:spo:anon#c437c167f923f422528aee73b5e70e5726914197d2dec7f210a84ae49e8498a7::" providerId="AD" clId="Web-{B8CFBAE6-F3AC-0CFE-3F62-3BE91E994F7C}" dt="2022-04-05T14:24:59.316" v="353" actId="20577"/>
          <ac:spMkLst>
            <pc:docMk/>
            <pc:sldMk cId="3117050842" sldId="377"/>
            <ac:spMk id="12" creationId="{85D5939B-C636-4551-B695-13CF3D96E08C}"/>
          </ac:spMkLst>
        </pc:spChg>
        <pc:spChg chg="mod">
          <ac:chgData name="Guest User" userId="S::urn:spo:anon#c437c167f923f422528aee73b5e70e5726914197d2dec7f210a84ae49e8498a7::" providerId="AD" clId="Web-{B8CFBAE6-F3AC-0CFE-3F62-3BE91E994F7C}" dt="2022-04-05T14:25:48.053" v="379" actId="20577"/>
          <ac:spMkLst>
            <pc:docMk/>
            <pc:sldMk cId="3117050842" sldId="377"/>
            <ac:spMk id="13" creationId="{52728604-4CC7-4599-8C24-A8100EF5CD46}"/>
          </ac:spMkLst>
        </pc:spChg>
        <pc:spChg chg="add del mod">
          <ac:chgData name="Guest User" userId="S::urn:spo:anon#c437c167f923f422528aee73b5e70e5726914197d2dec7f210a84ae49e8498a7::" providerId="AD" clId="Web-{B8CFBAE6-F3AC-0CFE-3F62-3BE91E994F7C}" dt="2022-04-05T14:23:08.403" v="328"/>
          <ac:spMkLst>
            <pc:docMk/>
            <pc:sldMk cId="3117050842" sldId="377"/>
            <ac:spMk id="15" creationId="{2A34D8B8-26B8-BC13-534F-00E923EAE3B0}"/>
          </ac:spMkLst>
        </pc:spChg>
        <pc:spChg chg="add del mod">
          <ac:chgData name="Guest User" userId="S::urn:spo:anon#c437c167f923f422528aee73b5e70e5726914197d2dec7f210a84ae49e8498a7::" providerId="AD" clId="Web-{B8CFBAE6-F3AC-0CFE-3F62-3BE91E994F7C}" dt="2022-04-05T14:18:44.279" v="246"/>
          <ac:spMkLst>
            <pc:docMk/>
            <pc:sldMk cId="3117050842" sldId="377"/>
            <ac:spMk id="16" creationId="{A2BD1E5E-1AF9-67B2-A2D9-3D8DB9CEB0A2}"/>
          </ac:spMkLst>
        </pc:spChg>
        <pc:spChg chg="add del mod">
          <ac:chgData name="Guest User" userId="S::urn:spo:anon#c437c167f923f422528aee73b5e70e5726914197d2dec7f210a84ae49e8498a7::" providerId="AD" clId="Web-{B8CFBAE6-F3AC-0CFE-3F62-3BE91E994F7C}" dt="2022-04-05T14:19:57.033" v="268"/>
          <ac:spMkLst>
            <pc:docMk/>
            <pc:sldMk cId="3117050842" sldId="377"/>
            <ac:spMk id="17" creationId="{82A0E330-4A96-DBAA-4601-F9115BE9D2C4}"/>
          </ac:spMkLst>
        </pc:spChg>
        <pc:spChg chg="add del">
          <ac:chgData name="Guest User" userId="S::urn:spo:anon#c437c167f923f422528aee73b5e70e5726914197d2dec7f210a84ae49e8498a7::" providerId="AD" clId="Web-{B8CFBAE6-F3AC-0CFE-3F62-3BE91E994F7C}" dt="2022-04-05T14:22:48.871" v="321"/>
          <ac:spMkLst>
            <pc:docMk/>
            <pc:sldMk cId="3117050842" sldId="377"/>
            <ac:spMk id="19" creationId="{600A75F1-FB38-113C-00C8-D76289FEF29C}"/>
          </ac:spMkLst>
        </pc:spChg>
      </pc:sldChg>
    </pc:docChg>
  </pc:docChgLst>
  <pc:docChgLst>
    <pc:chgData name="Guest User" userId="S::urn:spo:anon#c437c167f923f422528aee73b5e70e5726914197d2dec7f210a84ae49e8498a7::" providerId="AD" clId="Web-{D6FBBE49-35D0-C1D6-8F72-C8066D93A8B7}"/>
    <pc:docChg chg="modSld">
      <pc:chgData name="Guest User" userId="S::urn:spo:anon#c437c167f923f422528aee73b5e70e5726914197d2dec7f210a84ae49e8498a7::" providerId="AD" clId="Web-{D6FBBE49-35D0-C1D6-8F72-C8066D93A8B7}" dt="2022-04-04T17:57:34.967" v="177"/>
      <pc:docMkLst>
        <pc:docMk/>
      </pc:docMkLst>
      <pc:sldChg chg="modSp">
        <pc:chgData name="Guest User" userId="S::urn:spo:anon#c437c167f923f422528aee73b5e70e5726914197d2dec7f210a84ae49e8498a7::" providerId="AD" clId="Web-{D6FBBE49-35D0-C1D6-8F72-C8066D93A8B7}" dt="2022-04-04T17:26:17.811" v="96" actId="20577"/>
        <pc:sldMkLst>
          <pc:docMk/>
          <pc:sldMk cId="0" sldId="264"/>
        </pc:sldMkLst>
        <pc:spChg chg="mod">
          <ac:chgData name="Guest User" userId="S::urn:spo:anon#c437c167f923f422528aee73b5e70e5726914197d2dec7f210a84ae49e8498a7::" providerId="AD" clId="Web-{D6FBBE49-35D0-C1D6-8F72-C8066D93A8B7}" dt="2022-04-04T17:26:17.811" v="96" actId="20577"/>
          <ac:spMkLst>
            <pc:docMk/>
            <pc:sldMk cId="0" sldId="264"/>
            <ac:spMk id="26" creationId="{63D5B65A-793E-4E79-B52C-834340BABD85}"/>
          </ac:spMkLst>
        </pc:spChg>
      </pc:sldChg>
      <pc:sldChg chg="modSp">
        <pc:chgData name="Guest User" userId="S::urn:spo:anon#c437c167f923f422528aee73b5e70e5726914197d2dec7f210a84ae49e8498a7::" providerId="AD" clId="Web-{D6FBBE49-35D0-C1D6-8F72-C8066D93A8B7}" dt="2022-04-04T17:54:57.901" v="125" actId="20577"/>
        <pc:sldMkLst>
          <pc:docMk/>
          <pc:sldMk cId="0" sldId="275"/>
        </pc:sldMkLst>
        <pc:spChg chg="mod">
          <ac:chgData name="Guest User" userId="S::urn:spo:anon#c437c167f923f422528aee73b5e70e5726914197d2dec7f210a84ae49e8498a7::" providerId="AD" clId="Web-{D6FBBE49-35D0-C1D6-8F72-C8066D93A8B7}" dt="2022-04-04T17:54:57.901" v="125" actId="20577"/>
          <ac:spMkLst>
            <pc:docMk/>
            <pc:sldMk cId="0" sldId="275"/>
            <ac:spMk id="9" creationId="{0FBC84A6-EDCC-927D-4D8D-DFA9A4DCE659}"/>
          </ac:spMkLst>
        </pc:spChg>
      </pc:sldChg>
      <pc:sldChg chg="modSp">
        <pc:chgData name="Guest User" userId="S::urn:spo:anon#c437c167f923f422528aee73b5e70e5726914197d2dec7f210a84ae49e8498a7::" providerId="AD" clId="Web-{D6FBBE49-35D0-C1D6-8F72-C8066D93A8B7}" dt="2022-04-04T17:45:59.153" v="116" actId="20577"/>
        <pc:sldMkLst>
          <pc:docMk/>
          <pc:sldMk cId="1756389301" sldId="323"/>
        </pc:sldMkLst>
        <pc:spChg chg="mod">
          <ac:chgData name="Guest User" userId="S::urn:spo:anon#c437c167f923f422528aee73b5e70e5726914197d2dec7f210a84ae49e8498a7::" providerId="AD" clId="Web-{D6FBBE49-35D0-C1D6-8F72-C8066D93A8B7}" dt="2022-04-04T17:45:59.153" v="116" actId="20577"/>
          <ac:spMkLst>
            <pc:docMk/>
            <pc:sldMk cId="1756389301" sldId="323"/>
            <ac:spMk id="16" creationId="{8F0CA37A-B6EB-4A17-9D52-2FBB285889D0}"/>
          </ac:spMkLst>
        </pc:spChg>
      </pc:sldChg>
      <pc:sldChg chg="addSp delSp modSp">
        <pc:chgData name="Guest User" userId="S::urn:spo:anon#c437c167f923f422528aee73b5e70e5726914197d2dec7f210a84ae49e8498a7::" providerId="AD" clId="Web-{D6FBBE49-35D0-C1D6-8F72-C8066D93A8B7}" dt="2022-04-04T17:11:42.930" v="78" actId="20577"/>
        <pc:sldMkLst>
          <pc:docMk/>
          <pc:sldMk cId="1209993513" sldId="338"/>
        </pc:sldMkLst>
        <pc:spChg chg="del">
          <ac:chgData name="Guest User" userId="S::urn:spo:anon#c437c167f923f422528aee73b5e70e5726914197d2dec7f210a84ae49e8498a7::" providerId="AD" clId="Web-{D6FBBE49-35D0-C1D6-8F72-C8066D93A8B7}" dt="2022-04-04T16:59:36.833" v="72"/>
          <ac:spMkLst>
            <pc:docMk/>
            <pc:sldMk cId="1209993513" sldId="338"/>
            <ac:spMk id="13" creationId="{7CB40364-C6DD-4E16-B46E-08A1E44306A9}"/>
          </ac:spMkLst>
        </pc:spChg>
        <pc:spChg chg="mod">
          <ac:chgData name="Guest User" userId="S::urn:spo:anon#c437c167f923f422528aee73b5e70e5726914197d2dec7f210a84ae49e8498a7::" providerId="AD" clId="Web-{D6FBBE49-35D0-C1D6-8F72-C8066D93A8B7}" dt="2022-04-04T16:59:34.380" v="71" actId="20577"/>
          <ac:spMkLst>
            <pc:docMk/>
            <pc:sldMk cId="1209993513" sldId="338"/>
            <ac:spMk id="16" creationId="{F29BBF2D-5F15-45EC-BE2A-14ABF1E18DB5}"/>
          </ac:spMkLst>
        </pc:spChg>
        <pc:spChg chg="mod">
          <ac:chgData name="Guest User" userId="S::urn:spo:anon#c437c167f923f422528aee73b5e70e5726914197d2dec7f210a84ae49e8498a7::" providerId="AD" clId="Web-{D6FBBE49-35D0-C1D6-8F72-C8066D93A8B7}" dt="2022-04-04T17:11:42.930" v="78" actId="20577"/>
          <ac:spMkLst>
            <pc:docMk/>
            <pc:sldMk cId="1209993513" sldId="338"/>
            <ac:spMk id="609" creationId="{00000000-0000-0000-0000-000000000000}"/>
          </ac:spMkLst>
        </pc:spChg>
        <pc:picChg chg="add mod">
          <ac:chgData name="Guest User" userId="S::urn:spo:anon#c437c167f923f422528aee73b5e70e5726914197d2dec7f210a84ae49e8498a7::" providerId="AD" clId="Web-{D6FBBE49-35D0-C1D6-8F72-C8066D93A8B7}" dt="2022-04-04T17:00:58.210" v="77" actId="1076"/>
          <ac:picMkLst>
            <pc:docMk/>
            <pc:sldMk cId="1209993513" sldId="338"/>
            <ac:picMk id="4" creationId="{E28D81F6-4FB1-0216-2B96-210D9B8C15D6}"/>
          </ac:picMkLst>
        </pc:picChg>
      </pc:sldChg>
      <pc:sldChg chg="modSp">
        <pc:chgData name="Guest User" userId="S::urn:spo:anon#c437c167f923f422528aee73b5e70e5726914197d2dec7f210a84ae49e8498a7::" providerId="AD" clId="Web-{D6FBBE49-35D0-C1D6-8F72-C8066D93A8B7}" dt="2022-04-04T16:44:25.076" v="19"/>
        <pc:sldMkLst>
          <pc:docMk/>
          <pc:sldMk cId="754587697" sldId="352"/>
        </pc:sldMkLst>
        <pc:graphicFrameChg chg="mod modGraphic">
          <ac:chgData name="Guest User" userId="S::urn:spo:anon#c437c167f923f422528aee73b5e70e5726914197d2dec7f210a84ae49e8498a7::" providerId="AD" clId="Web-{D6FBBE49-35D0-C1D6-8F72-C8066D93A8B7}" dt="2022-04-04T16:44:25.076" v="19"/>
          <ac:graphicFrameMkLst>
            <pc:docMk/>
            <pc:sldMk cId="754587697" sldId="352"/>
            <ac:graphicFrameMk id="23" creationId="{F4A84191-3BFB-48AA-A343-19DE4EA3891C}"/>
          </ac:graphicFrameMkLst>
        </pc:graphicFrameChg>
      </pc:sldChg>
      <pc:sldChg chg="modSp">
        <pc:chgData name="Guest User" userId="S::urn:spo:anon#c437c167f923f422528aee73b5e70e5726914197d2dec7f210a84ae49e8498a7::" providerId="AD" clId="Web-{D6FBBE49-35D0-C1D6-8F72-C8066D93A8B7}" dt="2022-04-04T17:57:34.967" v="177"/>
        <pc:sldMkLst>
          <pc:docMk/>
          <pc:sldMk cId="1138474479" sldId="369"/>
        </pc:sldMkLst>
        <pc:spChg chg="mod">
          <ac:chgData name="Guest User" userId="S::urn:spo:anon#c437c167f923f422528aee73b5e70e5726914197d2dec7f210a84ae49e8498a7::" providerId="AD" clId="Web-{D6FBBE49-35D0-C1D6-8F72-C8066D93A8B7}" dt="2022-04-04T17:55:25.792" v="135" actId="20577"/>
          <ac:spMkLst>
            <pc:docMk/>
            <pc:sldMk cId="1138474479" sldId="369"/>
            <ac:spMk id="10" creationId="{A698D7F4-3A03-4266-B816-9503033CB2A4}"/>
          </ac:spMkLst>
        </pc:spChg>
        <pc:graphicFrameChg chg="mod modGraphic">
          <ac:chgData name="Guest User" userId="S::urn:spo:anon#c437c167f923f422528aee73b5e70e5726914197d2dec7f210a84ae49e8498a7::" providerId="AD" clId="Web-{D6FBBE49-35D0-C1D6-8F72-C8066D93A8B7}" dt="2022-04-04T17:57:34.967" v="177"/>
          <ac:graphicFrameMkLst>
            <pc:docMk/>
            <pc:sldMk cId="1138474479" sldId="369"/>
            <ac:graphicFrameMk id="694" creationId="{00000000-0000-0000-0000-000000000000}"/>
          </ac:graphicFrameMkLst>
        </pc:graphicFrameChg>
      </pc:sldChg>
    </pc:docChg>
  </pc:docChgLst>
  <pc:docChgLst>
    <pc:chgData name="Guest User" userId="S::urn:spo:anon#bc72e6c931b442e1b83d9d7baffb28dcb7bee849e2d9a5e2bb7cc25170a1c113::" providerId="AD" clId="Web-{2BE151CB-36DF-587D-7AEE-D05F56C9CEA4}"/>
    <pc:docChg chg="modSld">
      <pc:chgData name="Guest User" userId="S::urn:spo:anon#bc72e6c931b442e1b83d9d7baffb28dcb7bee849e2d9a5e2bb7cc25170a1c113::" providerId="AD" clId="Web-{2BE151CB-36DF-587D-7AEE-D05F56C9CEA4}" dt="2022-03-21T15:58:52.638" v="0" actId="1076"/>
      <pc:docMkLst>
        <pc:docMk/>
      </pc:docMkLst>
      <pc:sldChg chg="modSp">
        <pc:chgData name="Guest User" userId="S::urn:spo:anon#bc72e6c931b442e1b83d9d7baffb28dcb7bee849e2d9a5e2bb7cc25170a1c113::" providerId="AD" clId="Web-{2BE151CB-36DF-587D-7AEE-D05F56C9CEA4}" dt="2022-03-21T15:58:52.638" v="0" actId="1076"/>
        <pc:sldMkLst>
          <pc:docMk/>
          <pc:sldMk cId="754587697" sldId="352"/>
        </pc:sldMkLst>
        <pc:spChg chg="mod">
          <ac:chgData name="Guest User" userId="S::urn:spo:anon#bc72e6c931b442e1b83d9d7baffb28dcb7bee849e2d9a5e2bb7cc25170a1c113::" providerId="AD" clId="Web-{2BE151CB-36DF-587D-7AEE-D05F56C9CEA4}" dt="2022-03-21T15:58:52.638" v="0" actId="1076"/>
          <ac:spMkLst>
            <pc:docMk/>
            <pc:sldMk cId="754587697" sldId="352"/>
            <ac:spMk id="4" creationId="{974B56B3-82DE-42A0-B45B-EC8564BAA9EE}"/>
          </ac:spMkLst>
        </pc:spChg>
      </pc:sldChg>
    </pc:docChg>
  </pc:docChgLst>
  <pc:docChgLst>
    <pc:chgData name="Guest User" userId="S::urn:spo:anon#bc72e6c931b442e1b83d9d7baffb28dcb7bee849e2d9a5e2bb7cc25170a1c113::" providerId="AD" clId="Web-{59C8D809-F467-E337-3A2D-3E0EC86DEFA1}"/>
    <pc:docChg chg="addSld modSld">
      <pc:chgData name="Guest User" userId="S::urn:spo:anon#bc72e6c931b442e1b83d9d7baffb28dcb7bee849e2d9a5e2bb7cc25170a1c113::" providerId="AD" clId="Web-{59C8D809-F467-E337-3A2D-3E0EC86DEFA1}" dt="2022-03-21T15:41:09.196" v="9"/>
      <pc:docMkLst>
        <pc:docMk/>
      </pc:docMkLst>
      <pc:sldChg chg="addSp delSp modSp">
        <pc:chgData name="Guest User" userId="S::urn:spo:anon#bc72e6c931b442e1b83d9d7baffb28dcb7bee849e2d9a5e2bb7cc25170a1c113::" providerId="AD" clId="Web-{59C8D809-F467-E337-3A2D-3E0EC86DEFA1}" dt="2022-03-21T15:40:58.992" v="8"/>
        <pc:sldMkLst>
          <pc:docMk/>
          <pc:sldMk cId="1358823486" sldId="345"/>
        </pc:sldMkLst>
        <pc:spChg chg="add del mod">
          <ac:chgData name="Guest User" userId="S::urn:spo:anon#bc72e6c931b442e1b83d9d7baffb28dcb7bee849e2d9a5e2bb7cc25170a1c113::" providerId="AD" clId="Web-{59C8D809-F467-E337-3A2D-3E0EC86DEFA1}" dt="2022-03-21T15:40:58.992" v="8"/>
          <ac:spMkLst>
            <pc:docMk/>
            <pc:sldMk cId="1358823486" sldId="345"/>
            <ac:spMk id="16" creationId="{220AB19E-B91A-4B01-A8D7-ABB6FE307B6B}"/>
          </ac:spMkLst>
        </pc:spChg>
        <pc:spChg chg="add del mod">
          <ac:chgData name="Guest User" userId="S::urn:spo:anon#bc72e6c931b442e1b83d9d7baffb28dcb7bee849e2d9a5e2bb7cc25170a1c113::" providerId="AD" clId="Web-{59C8D809-F467-E337-3A2D-3E0EC86DEFA1}" dt="2022-03-21T15:40:51.414" v="6"/>
          <ac:spMkLst>
            <pc:docMk/>
            <pc:sldMk cId="1358823486" sldId="345"/>
            <ac:spMk id="18" creationId="{247E2029-EBB2-400C-A6C5-4A73E73093F5}"/>
          </ac:spMkLst>
        </pc:spChg>
        <pc:picChg chg="del">
          <ac:chgData name="Guest User" userId="S::urn:spo:anon#bc72e6c931b442e1b83d9d7baffb28dcb7bee849e2d9a5e2bb7cc25170a1c113::" providerId="AD" clId="Web-{59C8D809-F467-E337-3A2D-3E0EC86DEFA1}" dt="2022-03-21T15:40:44.429" v="0"/>
          <ac:picMkLst>
            <pc:docMk/>
            <pc:sldMk cId="1358823486" sldId="345"/>
            <ac:picMk id="6" creationId="{5530CA94-ED4E-4E75-A9ED-684CCB9BF0CB}"/>
          </ac:picMkLst>
        </pc:picChg>
      </pc:sldChg>
      <pc:sldChg chg="add">
        <pc:chgData name="Guest User" userId="S::urn:spo:anon#bc72e6c931b442e1b83d9d7baffb28dcb7bee849e2d9a5e2bb7cc25170a1c113::" providerId="AD" clId="Web-{59C8D809-F467-E337-3A2D-3E0EC86DEFA1}" dt="2022-03-21T15:41:09.196" v="9"/>
        <pc:sldMkLst>
          <pc:docMk/>
          <pc:sldMk cId="2527603155" sldId="353"/>
        </pc:sldMkLst>
      </pc:sldChg>
    </pc:docChg>
  </pc:docChgLst>
  <pc:docChgLst>
    <pc:chgData name="Guest User" userId="S::urn:spo:anon#c437c167f923f422528aee73b5e70e5726914197d2dec7f210a84ae49e8498a7::" providerId="AD" clId="Web-{3AD9301E-13C0-D905-8F61-8A7C69DBDC93}"/>
    <pc:docChg chg="modSld">
      <pc:chgData name="Guest User" userId="S::urn:spo:anon#c437c167f923f422528aee73b5e70e5726914197d2dec7f210a84ae49e8498a7::" providerId="AD" clId="Web-{3AD9301E-13C0-D905-8F61-8A7C69DBDC93}" dt="2022-04-04T17:13:49.755" v="298" actId="20577"/>
      <pc:docMkLst>
        <pc:docMk/>
      </pc:docMkLst>
      <pc:sldChg chg="addSp delSp modSp">
        <pc:chgData name="Guest User" userId="S::urn:spo:anon#c437c167f923f422528aee73b5e70e5726914197d2dec7f210a84ae49e8498a7::" providerId="AD" clId="Web-{3AD9301E-13C0-D905-8F61-8A7C69DBDC93}" dt="2022-04-04T17:13:49.755" v="298" actId="20577"/>
        <pc:sldMkLst>
          <pc:docMk/>
          <pc:sldMk cId="3762238417" sldId="367"/>
        </pc:sldMkLst>
        <pc:spChg chg="mod">
          <ac:chgData name="Guest User" userId="S::urn:spo:anon#c437c167f923f422528aee73b5e70e5726914197d2dec7f210a84ae49e8498a7::" providerId="AD" clId="Web-{3AD9301E-13C0-D905-8F61-8A7C69DBDC93}" dt="2022-04-04T17:13:49.755" v="298" actId="20577"/>
          <ac:spMkLst>
            <pc:docMk/>
            <pc:sldMk cId="3762238417" sldId="367"/>
            <ac:spMk id="3" creationId="{346B9D98-5C00-250F-2E85-76FD3A920D22}"/>
          </ac:spMkLst>
        </pc:spChg>
        <pc:spChg chg="mod">
          <ac:chgData name="Guest User" userId="S::urn:spo:anon#c437c167f923f422528aee73b5e70e5726914197d2dec7f210a84ae49e8498a7::" providerId="AD" clId="Web-{3AD9301E-13C0-D905-8F61-8A7C69DBDC93}" dt="2022-04-04T17:11:00.578" v="288" actId="1076"/>
          <ac:spMkLst>
            <pc:docMk/>
            <pc:sldMk cId="3762238417" sldId="367"/>
            <ac:spMk id="9" creationId="{A559BC09-4387-488E-85BC-CBE75B1CE17C}"/>
          </ac:spMkLst>
        </pc:spChg>
        <pc:picChg chg="add del mod">
          <ac:chgData name="Guest User" userId="S::urn:spo:anon#c437c167f923f422528aee73b5e70e5726914197d2dec7f210a84ae49e8498a7::" providerId="AD" clId="Web-{3AD9301E-13C0-D905-8F61-8A7C69DBDC93}" dt="2022-04-04T17:10:00.311" v="271"/>
          <ac:picMkLst>
            <pc:docMk/>
            <pc:sldMk cId="3762238417" sldId="367"/>
            <ac:picMk id="10" creationId="{A1E6E822-3170-FF27-F0D7-8F496FF141D8}"/>
          </ac:picMkLst>
        </pc:picChg>
      </pc:sldChg>
    </pc:docChg>
  </pc:docChgLst>
  <pc:docChgLst>
    <pc:chgData name="Guest User" userId="S::urn:spo:anon#c437c167f923f422528aee73b5e70e5726914197d2dec7f210a84ae49e8498a7::" providerId="AD" clId="Web-{31E0F0A3-0D9A-9422-4634-9BF62D8648DB}"/>
    <pc:docChg chg="modSld">
      <pc:chgData name="Guest User" userId="S::urn:spo:anon#c437c167f923f422528aee73b5e70e5726914197d2dec7f210a84ae49e8498a7::" providerId="AD" clId="Web-{31E0F0A3-0D9A-9422-4634-9BF62D8648DB}" dt="2022-04-05T00:39:09.039" v="2" actId="1076"/>
      <pc:docMkLst>
        <pc:docMk/>
      </pc:docMkLst>
      <pc:sldChg chg="modSp">
        <pc:chgData name="Guest User" userId="S::urn:spo:anon#c437c167f923f422528aee73b5e70e5726914197d2dec7f210a84ae49e8498a7::" providerId="AD" clId="Web-{31E0F0A3-0D9A-9422-4634-9BF62D8648DB}" dt="2022-04-05T00:39:09.039" v="2" actId="1076"/>
        <pc:sldMkLst>
          <pc:docMk/>
          <pc:sldMk cId="1695560817" sldId="366"/>
        </pc:sldMkLst>
        <pc:spChg chg="mod">
          <ac:chgData name="Guest User" userId="S::urn:spo:anon#c437c167f923f422528aee73b5e70e5726914197d2dec7f210a84ae49e8498a7::" providerId="AD" clId="Web-{31E0F0A3-0D9A-9422-4634-9BF62D8648DB}" dt="2022-04-05T00:39:09.039" v="2" actId="1076"/>
          <ac:spMkLst>
            <pc:docMk/>
            <pc:sldMk cId="1695560817" sldId="366"/>
            <ac:spMk id="55" creationId="{848D1D00-5AAC-E43D-57E3-DF6A3967DF99}"/>
          </ac:spMkLst>
        </pc:spChg>
      </pc:sldChg>
    </pc:docChg>
  </pc:docChgLst>
  <pc:docChgLst>
    <pc:chgData name="Guest User" userId="S::urn:spo:anon#c437c167f923f422528aee73b5e70e5726914197d2dec7f210a84ae49e8498a7::" providerId="AD" clId="Web-{7E8C6A50-7BF0-7D53-1FBC-DAEA3326E33F}"/>
    <pc:docChg chg="modSld">
      <pc:chgData name="Guest User" userId="S::urn:spo:anon#c437c167f923f422528aee73b5e70e5726914197d2dec7f210a84ae49e8498a7::" providerId="AD" clId="Web-{7E8C6A50-7BF0-7D53-1FBC-DAEA3326E33F}" dt="2022-04-05T17:22:43.518" v="10" actId="20577"/>
      <pc:docMkLst>
        <pc:docMk/>
      </pc:docMkLst>
      <pc:sldChg chg="addSp delSp modSp">
        <pc:chgData name="Guest User" userId="S::urn:spo:anon#c437c167f923f422528aee73b5e70e5726914197d2dec7f210a84ae49e8498a7::" providerId="AD" clId="Web-{7E8C6A50-7BF0-7D53-1FBC-DAEA3326E33F}" dt="2022-04-05T17:22:43.518" v="10" actId="20577"/>
        <pc:sldMkLst>
          <pc:docMk/>
          <pc:sldMk cId="3117050842" sldId="377"/>
        </pc:sldMkLst>
        <pc:spChg chg="del">
          <ac:chgData name="Guest User" userId="S::urn:spo:anon#c437c167f923f422528aee73b5e70e5726914197d2dec7f210a84ae49e8498a7::" providerId="AD" clId="Web-{7E8C6A50-7BF0-7D53-1FBC-DAEA3326E33F}" dt="2022-04-05T17:22:00.017" v="0"/>
          <ac:spMkLst>
            <pc:docMk/>
            <pc:sldMk cId="3117050842" sldId="377"/>
            <ac:spMk id="9" creationId="{A559BC09-4387-488E-85BC-CBE75B1CE17C}"/>
          </ac:spMkLst>
        </pc:spChg>
        <pc:spChg chg="mod">
          <ac:chgData name="Guest User" userId="S::urn:spo:anon#c437c167f923f422528aee73b5e70e5726914197d2dec7f210a84ae49e8498a7::" providerId="AD" clId="Web-{7E8C6A50-7BF0-7D53-1FBC-DAEA3326E33F}" dt="2022-04-05T17:22:43.518" v="10" actId="20577"/>
          <ac:spMkLst>
            <pc:docMk/>
            <pc:sldMk cId="3117050842" sldId="377"/>
            <ac:spMk id="12" creationId="{85D5939B-C636-4551-B695-13CF3D96E08C}"/>
          </ac:spMkLst>
        </pc:spChg>
        <pc:spChg chg="del">
          <ac:chgData name="Guest User" userId="S::urn:spo:anon#c437c167f923f422528aee73b5e70e5726914197d2dec7f210a84ae49e8498a7::" providerId="AD" clId="Web-{7E8C6A50-7BF0-7D53-1FBC-DAEA3326E33F}" dt="2022-04-05T17:22:19.142" v="6"/>
          <ac:spMkLst>
            <pc:docMk/>
            <pc:sldMk cId="3117050842" sldId="377"/>
            <ac:spMk id="13" creationId="{52728604-4CC7-4599-8C24-A8100EF5CD46}"/>
          </ac:spMkLst>
        </pc:spChg>
        <pc:spChg chg="del mod">
          <ac:chgData name="Guest User" userId="S::urn:spo:anon#c437c167f923f422528aee73b5e70e5726914197d2dec7f210a84ae49e8498a7::" providerId="AD" clId="Web-{7E8C6A50-7BF0-7D53-1FBC-DAEA3326E33F}" dt="2022-04-05T17:22:26.470" v="8"/>
          <ac:spMkLst>
            <pc:docMk/>
            <pc:sldMk cId="3117050842" sldId="377"/>
            <ac:spMk id="18" creationId="{F4B2C878-DA8A-4485-AE71-43CCC1F50856}"/>
          </ac:spMkLst>
        </pc:spChg>
        <pc:picChg chg="add mod ord">
          <ac:chgData name="Guest User" userId="S::urn:spo:anon#c437c167f923f422528aee73b5e70e5726914197d2dec7f210a84ae49e8498a7::" providerId="AD" clId="Web-{7E8C6A50-7BF0-7D53-1FBC-DAEA3326E33F}" dt="2022-04-05T17:22:27.267" v="9" actId="1076"/>
          <ac:picMkLst>
            <pc:docMk/>
            <pc:sldMk cId="3117050842" sldId="377"/>
            <ac:picMk id="3" creationId="{D0703C0D-B8EB-60B3-A27C-B0A7EBD2B65C}"/>
          </ac:picMkLst>
        </pc:picChg>
      </pc:sldChg>
    </pc:docChg>
  </pc:docChgLst>
  <pc:docChgLst>
    <pc:chgData name="Guest User" userId="S::urn:spo:anon#c437c167f923f422528aee73b5e70e5726914197d2dec7f210a84ae49e8498a7::" providerId="AD" clId="Web-{7EABE0F2-3043-D0FC-1CF5-ABD441C0FF4E}"/>
    <pc:docChg chg="modSld">
      <pc:chgData name="Guest User" userId="S::urn:spo:anon#c437c167f923f422528aee73b5e70e5726914197d2dec7f210a84ae49e8498a7::" providerId="AD" clId="Web-{7EABE0F2-3043-D0FC-1CF5-ABD441C0FF4E}" dt="2022-04-04T21:05:51.925" v="117"/>
      <pc:docMkLst>
        <pc:docMk/>
      </pc:docMkLst>
      <pc:sldChg chg="addSp delSp modSp">
        <pc:chgData name="Guest User" userId="S::urn:spo:anon#c437c167f923f422528aee73b5e70e5726914197d2dec7f210a84ae49e8498a7::" providerId="AD" clId="Web-{7EABE0F2-3043-D0FC-1CF5-ABD441C0FF4E}" dt="2022-04-04T21:05:51.925" v="117"/>
        <pc:sldMkLst>
          <pc:docMk/>
          <pc:sldMk cId="1695560817" sldId="366"/>
        </pc:sldMkLst>
        <pc:spChg chg="add del">
          <ac:chgData name="Guest User" userId="S::urn:spo:anon#c437c167f923f422528aee73b5e70e5726914197d2dec7f210a84ae49e8498a7::" providerId="AD" clId="Web-{7EABE0F2-3043-D0FC-1CF5-ABD441C0FF4E}" dt="2022-04-04T20:59:13.978" v="45"/>
          <ac:spMkLst>
            <pc:docMk/>
            <pc:sldMk cId="1695560817" sldId="366"/>
            <ac:spMk id="6" creationId="{A97D7793-EFAB-033B-7573-5E81EE56DB51}"/>
          </ac:spMkLst>
        </pc:spChg>
        <pc:spChg chg="mod">
          <ac:chgData name="Guest User" userId="S::urn:spo:anon#c437c167f923f422528aee73b5e70e5726914197d2dec7f210a84ae49e8498a7::" providerId="AD" clId="Web-{7EABE0F2-3043-D0FC-1CF5-ABD441C0FF4E}" dt="2022-04-04T21:04:51.517" v="111" actId="20577"/>
          <ac:spMkLst>
            <pc:docMk/>
            <pc:sldMk cId="1695560817" sldId="366"/>
            <ac:spMk id="7" creationId="{13934D1C-6E4A-EDA6-05C5-4249C9B8C8B5}"/>
          </ac:spMkLst>
        </pc:spChg>
        <pc:spChg chg="add del">
          <ac:chgData name="Guest User" userId="S::urn:spo:anon#c437c167f923f422528aee73b5e70e5726914197d2dec7f210a84ae49e8498a7::" providerId="AD" clId="Web-{7EABE0F2-3043-D0FC-1CF5-ABD441C0FF4E}" dt="2022-04-04T21:05:51.925" v="117"/>
          <ac:spMkLst>
            <pc:docMk/>
            <pc:sldMk cId="1695560817" sldId="366"/>
            <ac:spMk id="8" creationId="{22262F94-DCE4-57D5-0D61-53F9D5465AB4}"/>
          </ac:spMkLst>
        </pc:spChg>
        <pc:spChg chg="add del">
          <ac:chgData name="Guest User" userId="S::urn:spo:anon#c437c167f923f422528aee73b5e70e5726914197d2dec7f210a84ae49e8498a7::" providerId="AD" clId="Web-{7EABE0F2-3043-D0FC-1CF5-ABD441C0FF4E}" dt="2022-04-04T21:05:48.987" v="116"/>
          <ac:spMkLst>
            <pc:docMk/>
            <pc:sldMk cId="1695560817" sldId="366"/>
            <ac:spMk id="9" creationId="{97E746A9-5F38-676A-E66B-D19728173381}"/>
          </ac:spMkLst>
        </pc:spChg>
        <pc:spChg chg="mod">
          <ac:chgData name="Guest User" userId="S::urn:spo:anon#c437c167f923f422528aee73b5e70e5726914197d2dec7f210a84ae49e8498a7::" providerId="AD" clId="Web-{7EABE0F2-3043-D0FC-1CF5-ABD441C0FF4E}" dt="2022-04-04T20:56:30.443" v="17" actId="20577"/>
          <ac:spMkLst>
            <pc:docMk/>
            <pc:sldMk cId="1695560817" sldId="366"/>
            <ac:spMk id="55" creationId="{848D1D00-5AAC-E43D-57E3-DF6A3967DF99}"/>
          </ac:spMkLst>
        </pc:spChg>
        <pc:spChg chg="mod">
          <ac:chgData name="Guest User" userId="S::urn:spo:anon#c437c167f923f422528aee73b5e70e5726914197d2dec7f210a84ae49e8498a7::" providerId="AD" clId="Web-{7EABE0F2-3043-D0FC-1CF5-ABD441C0FF4E}" dt="2022-04-04T20:57:22.991" v="20" actId="1076"/>
          <ac:spMkLst>
            <pc:docMk/>
            <pc:sldMk cId="1695560817" sldId="366"/>
            <ac:spMk id="57" creationId="{517415E3-5292-CB76-E3BF-5A88419C6143}"/>
          </ac:spMkLst>
        </pc:spChg>
        <pc:spChg chg="add mod">
          <ac:chgData name="Guest User" userId="S::urn:spo:anon#c437c167f923f422528aee73b5e70e5726914197d2dec7f210a84ae49e8498a7::" providerId="AD" clId="Web-{7EABE0F2-3043-D0FC-1CF5-ABD441C0FF4E}" dt="2022-04-04T20:59:56.542" v="59" actId="1076"/>
          <ac:spMkLst>
            <pc:docMk/>
            <pc:sldMk cId="1695560817" sldId="366"/>
            <ac:spMk id="63" creationId="{74696D9C-DE03-D7F7-3DBD-BFACA06BDEE1}"/>
          </ac:spMkLst>
        </pc:spChg>
        <pc:spChg chg="mod">
          <ac:chgData name="Guest User" userId="S::urn:spo:anon#c437c167f923f422528aee73b5e70e5726914197d2dec7f210a84ae49e8498a7::" providerId="AD" clId="Web-{7EABE0F2-3043-D0FC-1CF5-ABD441C0FF4E}" dt="2022-04-04T20:57:23.007" v="21" actId="1076"/>
          <ac:spMkLst>
            <pc:docMk/>
            <pc:sldMk cId="1695560817" sldId="366"/>
            <ac:spMk id="68" creationId="{861BABA1-876C-78CE-7F83-46D5D21EA49D}"/>
          </ac:spMkLst>
        </pc:spChg>
        <pc:spChg chg="mod">
          <ac:chgData name="Guest User" userId="S::urn:spo:anon#c437c167f923f422528aee73b5e70e5726914197d2dec7f210a84ae49e8498a7::" providerId="AD" clId="Web-{7EABE0F2-3043-D0FC-1CF5-ABD441C0FF4E}" dt="2022-04-04T20:57:22.960" v="19" actId="1076"/>
          <ac:spMkLst>
            <pc:docMk/>
            <pc:sldMk cId="1695560817" sldId="366"/>
            <ac:spMk id="78" creationId="{85AA2B18-4964-80D8-597C-B2C0E4AC1A9F}"/>
          </ac:spMkLst>
        </pc:spChg>
        <pc:cxnChg chg="add mod">
          <ac:chgData name="Guest User" userId="S::urn:spo:anon#c437c167f923f422528aee73b5e70e5726914197d2dec7f210a84ae49e8498a7::" providerId="AD" clId="Web-{7EABE0F2-3043-D0FC-1CF5-ABD441C0FF4E}" dt="2022-04-04T20:59:03.275" v="43" actId="1076"/>
          <ac:cxnSpMkLst>
            <pc:docMk/>
            <pc:sldMk cId="1695560817" sldId="366"/>
            <ac:cxnSpMk id="49" creationId="{09C53D46-26CE-2C5D-243C-4443A1C92223}"/>
          </ac:cxnSpMkLst>
        </pc:cxnChg>
        <pc:cxnChg chg="mod">
          <ac:chgData name="Guest User" userId="S::urn:spo:anon#c437c167f923f422528aee73b5e70e5726914197d2dec7f210a84ae49e8498a7::" providerId="AD" clId="Web-{7EABE0F2-3043-D0FC-1CF5-ABD441C0FF4E}" dt="2022-04-04T21:05:42.175" v="113" actId="14100"/>
          <ac:cxnSpMkLst>
            <pc:docMk/>
            <pc:sldMk cId="1695560817" sldId="366"/>
            <ac:cxnSpMk id="52" creationId="{4B6288B0-2F92-BABF-949C-D41DF2E2967F}"/>
          </ac:cxnSpMkLst>
        </pc:cxnChg>
        <pc:cxnChg chg="mod">
          <ac:chgData name="Guest User" userId="S::urn:spo:anon#c437c167f923f422528aee73b5e70e5726914197d2dec7f210a84ae49e8498a7::" providerId="AD" clId="Web-{7EABE0F2-3043-D0FC-1CF5-ABD441C0FF4E}" dt="2022-04-04T21:05:32.440" v="112" actId="14100"/>
          <ac:cxnSpMkLst>
            <pc:docMk/>
            <pc:sldMk cId="1695560817" sldId="366"/>
            <ac:cxnSpMk id="56" creationId="{62555E59-04A5-FFF1-EE9E-8961465F1E1D}"/>
          </ac:cxnSpMkLst>
        </pc:cxnChg>
        <pc:cxnChg chg="mod">
          <ac:chgData name="Guest User" userId="S::urn:spo:anon#c437c167f923f422528aee73b5e70e5726914197d2dec7f210a84ae49e8498a7::" providerId="AD" clId="Web-{7EABE0F2-3043-D0FC-1CF5-ABD441C0FF4E}" dt="2022-04-04T20:57:30.085" v="23" actId="1076"/>
          <ac:cxnSpMkLst>
            <pc:docMk/>
            <pc:sldMk cId="1695560817" sldId="366"/>
            <ac:cxnSpMk id="70" creationId="{36AB945C-B067-EFEB-F8C0-06799B81FEEF}"/>
          </ac:cxnSpMkLst>
        </pc:cxnChg>
      </pc:sldChg>
      <pc:sldChg chg="modSp">
        <pc:chgData name="Guest User" userId="S::urn:spo:anon#c437c167f923f422528aee73b5e70e5726914197d2dec7f210a84ae49e8498a7::" providerId="AD" clId="Web-{7EABE0F2-3043-D0FC-1CF5-ABD441C0FF4E}" dt="2022-04-04T20:54:56.831" v="7" actId="20577"/>
        <pc:sldMkLst>
          <pc:docMk/>
          <pc:sldMk cId="3762238417" sldId="367"/>
        </pc:sldMkLst>
        <pc:spChg chg="mod">
          <ac:chgData name="Guest User" userId="S::urn:spo:anon#c437c167f923f422528aee73b5e70e5726914197d2dec7f210a84ae49e8498a7::" providerId="AD" clId="Web-{7EABE0F2-3043-D0FC-1CF5-ABD441C0FF4E}" dt="2022-04-04T20:54:56.831" v="7" actId="20577"/>
          <ac:spMkLst>
            <pc:docMk/>
            <pc:sldMk cId="3762238417" sldId="367"/>
            <ac:spMk id="11" creationId="{CBD3480E-29E4-CF16-7FAC-4FDE84110F7D}"/>
          </ac:spMkLst>
        </pc:spChg>
      </pc:sldChg>
      <pc:sldChg chg="modSp">
        <pc:chgData name="Guest User" userId="S::urn:spo:anon#c437c167f923f422528aee73b5e70e5726914197d2dec7f210a84ae49e8498a7::" providerId="AD" clId="Web-{7EABE0F2-3043-D0FC-1CF5-ABD441C0FF4E}" dt="2022-04-04T20:54:27.612" v="4" actId="20577"/>
        <pc:sldMkLst>
          <pc:docMk/>
          <pc:sldMk cId="3514561185" sldId="374"/>
        </pc:sldMkLst>
        <pc:spChg chg="mod">
          <ac:chgData name="Guest User" userId="S::urn:spo:anon#c437c167f923f422528aee73b5e70e5726914197d2dec7f210a84ae49e8498a7::" providerId="AD" clId="Web-{7EABE0F2-3043-D0FC-1CF5-ABD441C0FF4E}" dt="2022-04-04T20:54:27.612" v="4" actId="20577"/>
          <ac:spMkLst>
            <pc:docMk/>
            <pc:sldMk cId="3514561185" sldId="374"/>
            <ac:spMk id="331" creationId="{00000000-0000-0000-0000-000000000000}"/>
          </ac:spMkLst>
        </pc:spChg>
      </pc:sldChg>
    </pc:docChg>
  </pc:docChgLst>
  <pc:docChgLst>
    <pc:chgData name="Guest User" userId="S::urn:spo:anon#bc72e6c931b442e1b83d9d7baffb28dcb7bee849e2d9a5e2bb7cc25170a1c113::" providerId="AD" clId="Web-{E0874A1B-6D3F-C41B-1158-0DAA47D3620F}"/>
    <pc:docChg chg="modSld">
      <pc:chgData name="Guest User" userId="S::urn:spo:anon#bc72e6c931b442e1b83d9d7baffb28dcb7bee849e2d9a5e2bb7cc25170a1c113::" providerId="AD" clId="Web-{E0874A1B-6D3F-C41B-1158-0DAA47D3620F}" dt="2022-03-21T16:20:05.524" v="20" actId="1076"/>
      <pc:docMkLst>
        <pc:docMk/>
      </pc:docMkLst>
      <pc:sldChg chg="addSp modSp">
        <pc:chgData name="Guest User" userId="S::urn:spo:anon#bc72e6c931b442e1b83d9d7baffb28dcb7bee849e2d9a5e2bb7cc25170a1c113::" providerId="AD" clId="Web-{E0874A1B-6D3F-C41B-1158-0DAA47D3620F}" dt="2022-03-21T16:20:05.524" v="20" actId="1076"/>
        <pc:sldMkLst>
          <pc:docMk/>
          <pc:sldMk cId="3720673345" sldId="336"/>
        </pc:sldMkLst>
        <pc:spChg chg="mod">
          <ac:chgData name="Guest User" userId="S::urn:spo:anon#bc72e6c931b442e1b83d9d7baffb28dcb7bee849e2d9a5e2bb7cc25170a1c113::" providerId="AD" clId="Web-{E0874A1B-6D3F-C41B-1158-0DAA47D3620F}" dt="2022-03-21T16:20:05.524" v="20" actId="1076"/>
          <ac:spMkLst>
            <pc:docMk/>
            <pc:sldMk cId="3720673345" sldId="336"/>
            <ac:spMk id="7" creationId="{1129B7BA-4DD2-4F48-8014-45C471497F3B}"/>
          </ac:spMkLst>
        </pc:spChg>
        <pc:spChg chg="ord">
          <ac:chgData name="Guest User" userId="S::urn:spo:anon#bc72e6c931b442e1b83d9d7baffb28dcb7bee849e2d9a5e2bb7cc25170a1c113::" providerId="AD" clId="Web-{E0874A1B-6D3F-C41B-1158-0DAA47D3620F}" dt="2022-03-21T16:19:50.086" v="8"/>
          <ac:spMkLst>
            <pc:docMk/>
            <pc:sldMk cId="3720673345" sldId="336"/>
            <ac:spMk id="16" creationId="{8A8E2FB6-A608-4B9E-A208-3AABA014F4B7}"/>
          </ac:spMkLst>
        </pc:spChg>
        <pc:picChg chg="add mod ord">
          <ac:chgData name="Guest User" userId="S::urn:spo:anon#bc72e6c931b442e1b83d9d7baffb28dcb7bee849e2d9a5e2bb7cc25170a1c113::" providerId="AD" clId="Web-{E0874A1B-6D3F-C41B-1158-0DAA47D3620F}" dt="2022-03-21T16:19:59.649" v="19" actId="1076"/>
          <ac:picMkLst>
            <pc:docMk/>
            <pc:sldMk cId="3720673345" sldId="336"/>
            <ac:picMk id="2" creationId="{076398DA-6924-4535-9B44-BDDF42024E00}"/>
          </ac:picMkLst>
        </pc:picChg>
      </pc:sldChg>
    </pc:docChg>
  </pc:docChgLst>
  <pc:docChgLst>
    <pc:chgData name="Guest User" userId="S::urn:spo:anon#c437c167f923f422528aee73b5e70e5726914197d2dec7f210a84ae49e8498a7::" providerId="AD" clId="Web-{61E2CC05-A81E-D6D7-99A6-13CD4867B46D}"/>
    <pc:docChg chg="modSld">
      <pc:chgData name="Guest User" userId="S::urn:spo:anon#c437c167f923f422528aee73b5e70e5726914197d2dec7f210a84ae49e8498a7::" providerId="AD" clId="Web-{61E2CC05-A81E-D6D7-99A6-13CD4867B46D}" dt="2022-04-04T14:42:59.532" v="98"/>
      <pc:docMkLst>
        <pc:docMk/>
      </pc:docMkLst>
      <pc:sldChg chg="addSp delSp">
        <pc:chgData name="Guest User" userId="S::urn:spo:anon#c437c167f923f422528aee73b5e70e5726914197d2dec7f210a84ae49e8498a7::" providerId="AD" clId="Web-{61E2CC05-A81E-D6D7-99A6-13CD4867B46D}" dt="2022-04-04T14:42:59.532" v="98"/>
        <pc:sldMkLst>
          <pc:docMk/>
          <pc:sldMk cId="0" sldId="256"/>
        </pc:sldMkLst>
        <pc:spChg chg="add del">
          <ac:chgData name="Guest User" userId="S::urn:spo:anon#c437c167f923f422528aee73b5e70e5726914197d2dec7f210a84ae49e8498a7::" providerId="AD" clId="Web-{61E2CC05-A81E-D6D7-99A6-13CD4867B46D}" dt="2022-04-04T14:42:59.532" v="98"/>
          <ac:spMkLst>
            <pc:docMk/>
            <pc:sldMk cId="0" sldId="256"/>
            <ac:spMk id="3" creationId="{B0238991-4556-F277-0C05-9F462522ACC4}"/>
          </ac:spMkLst>
        </pc:spChg>
      </pc:sldChg>
      <pc:sldChg chg="modSp">
        <pc:chgData name="Guest User" userId="S::urn:spo:anon#c437c167f923f422528aee73b5e70e5726914197d2dec7f210a84ae49e8498a7::" providerId="AD" clId="Web-{61E2CC05-A81E-D6D7-99A6-13CD4867B46D}" dt="2022-04-04T14:05:05.307" v="26" actId="14100"/>
        <pc:sldMkLst>
          <pc:docMk/>
          <pc:sldMk cId="2576879601" sldId="365"/>
        </pc:sldMkLst>
        <pc:spChg chg="mod">
          <ac:chgData name="Guest User" userId="S::urn:spo:anon#c437c167f923f422528aee73b5e70e5726914197d2dec7f210a84ae49e8498a7::" providerId="AD" clId="Web-{61E2CC05-A81E-D6D7-99A6-13CD4867B46D}" dt="2022-04-04T14:05:05.307" v="26" actId="14100"/>
          <ac:spMkLst>
            <pc:docMk/>
            <pc:sldMk cId="2576879601" sldId="365"/>
            <ac:spMk id="6" creationId="{74F8F5B6-6C79-278D-D3C6-E2F59AC9C58B}"/>
          </ac:spMkLst>
        </pc:spChg>
      </pc:sldChg>
      <pc:sldChg chg="addSp delSp modSp">
        <pc:chgData name="Guest User" userId="S::urn:spo:anon#c437c167f923f422528aee73b5e70e5726914197d2dec7f210a84ae49e8498a7::" providerId="AD" clId="Web-{61E2CC05-A81E-D6D7-99A6-13CD4867B46D}" dt="2022-04-04T14:42:24.828" v="96" actId="1076"/>
        <pc:sldMkLst>
          <pc:docMk/>
          <pc:sldMk cId="1695560817" sldId="366"/>
        </pc:sldMkLst>
        <pc:spChg chg="mod">
          <ac:chgData name="Guest User" userId="S::urn:spo:anon#c437c167f923f422528aee73b5e70e5726914197d2dec7f210a84ae49e8498a7::" providerId="AD" clId="Web-{61E2CC05-A81E-D6D7-99A6-13CD4867B46D}" dt="2022-04-04T14:41:19.155" v="78" actId="1076"/>
          <ac:spMkLst>
            <pc:docMk/>
            <pc:sldMk cId="1695560817" sldId="366"/>
            <ac:spMk id="3" creationId="{F1048966-CD25-3754-6E9D-DB4371B1B8BB}"/>
          </ac:spMkLst>
        </pc:spChg>
        <pc:spChg chg="add del mod">
          <ac:chgData name="Guest User" userId="S::urn:spo:anon#c437c167f923f422528aee73b5e70e5726914197d2dec7f210a84ae49e8498a7::" providerId="AD" clId="Web-{61E2CC05-A81E-D6D7-99A6-13CD4867B46D}" dt="2022-04-04T14:41:34.562" v="81"/>
          <ac:spMkLst>
            <pc:docMk/>
            <pc:sldMk cId="1695560817" sldId="366"/>
            <ac:spMk id="4" creationId="{AD818B5A-51A7-9EBD-C3B2-2E26BE5284D1}"/>
          </ac:spMkLst>
        </pc:spChg>
        <pc:spChg chg="del">
          <ac:chgData name="Guest User" userId="S::urn:spo:anon#c437c167f923f422528aee73b5e70e5726914197d2dec7f210a84ae49e8498a7::" providerId="AD" clId="Web-{61E2CC05-A81E-D6D7-99A6-13CD4867B46D}" dt="2022-04-04T14:40:41.717" v="71"/>
          <ac:spMkLst>
            <pc:docMk/>
            <pc:sldMk cId="1695560817" sldId="366"/>
            <ac:spMk id="5" creationId="{0A512D6F-DF46-9968-F0BB-A3D859B3FC70}"/>
          </ac:spMkLst>
        </pc:spChg>
        <pc:spChg chg="mod">
          <ac:chgData name="Guest User" userId="S::urn:spo:anon#c437c167f923f422528aee73b5e70e5726914197d2dec7f210a84ae49e8498a7::" providerId="AD" clId="Web-{61E2CC05-A81E-D6D7-99A6-13CD4867B46D}" dt="2022-04-04T14:42:24.828" v="96" actId="1076"/>
          <ac:spMkLst>
            <pc:docMk/>
            <pc:sldMk cId="1695560817" sldId="366"/>
            <ac:spMk id="7" creationId="{13934D1C-6E4A-EDA6-05C5-4249C9B8C8B5}"/>
          </ac:spMkLst>
        </pc:spChg>
        <pc:spChg chg="del">
          <ac:chgData name="Guest User" userId="S::urn:spo:anon#c437c167f923f422528aee73b5e70e5726914197d2dec7f210a84ae49e8498a7::" providerId="AD" clId="Web-{61E2CC05-A81E-D6D7-99A6-13CD4867B46D}" dt="2022-04-04T14:41:01.639" v="76"/>
          <ac:spMkLst>
            <pc:docMk/>
            <pc:sldMk cId="1695560817" sldId="366"/>
            <ac:spMk id="43" creationId="{FFB81ECA-772E-68F4-8228-B55348D36206}"/>
          </ac:spMkLst>
        </pc:spChg>
        <pc:spChg chg="mod">
          <ac:chgData name="Guest User" userId="S::urn:spo:anon#c437c167f923f422528aee73b5e70e5726914197d2dec7f210a84ae49e8498a7::" providerId="AD" clId="Web-{61E2CC05-A81E-D6D7-99A6-13CD4867B46D}" dt="2022-04-04T14:09:42.846" v="31" actId="20577"/>
          <ac:spMkLst>
            <pc:docMk/>
            <pc:sldMk cId="1695560817" sldId="366"/>
            <ac:spMk id="47" creationId="{635EA343-E326-C59A-DD60-9A2325E5F077}"/>
          </ac:spMkLst>
        </pc:spChg>
        <pc:spChg chg="mod">
          <ac:chgData name="Guest User" userId="S::urn:spo:anon#c437c167f923f422528aee73b5e70e5726914197d2dec7f210a84ae49e8498a7::" providerId="AD" clId="Web-{61E2CC05-A81E-D6D7-99A6-13CD4867B46D}" dt="2022-04-04T14:42:08.703" v="93" actId="1076"/>
          <ac:spMkLst>
            <pc:docMk/>
            <pc:sldMk cId="1695560817" sldId="366"/>
            <ac:spMk id="55" creationId="{848D1D00-5AAC-E43D-57E3-DF6A3967DF99}"/>
          </ac:spMkLst>
        </pc:spChg>
      </pc:sldChg>
      <pc:sldChg chg="modSp">
        <pc:chgData name="Guest User" userId="S::urn:spo:anon#c437c167f923f422528aee73b5e70e5726914197d2dec7f210a84ae49e8498a7::" providerId="AD" clId="Web-{61E2CC05-A81E-D6D7-99A6-13CD4867B46D}" dt="2022-04-04T14:38:37.292" v="68" actId="20577"/>
        <pc:sldMkLst>
          <pc:docMk/>
          <pc:sldMk cId="3762238417" sldId="367"/>
        </pc:sldMkLst>
        <pc:spChg chg="mod">
          <ac:chgData name="Guest User" userId="S::urn:spo:anon#c437c167f923f422528aee73b5e70e5726914197d2dec7f210a84ae49e8498a7::" providerId="AD" clId="Web-{61E2CC05-A81E-D6D7-99A6-13CD4867B46D}" dt="2022-04-04T14:38:37.292" v="68" actId="20577"/>
          <ac:spMkLst>
            <pc:docMk/>
            <pc:sldMk cId="3762238417" sldId="367"/>
            <ac:spMk id="9" creationId="{A559BC09-4387-488E-85BC-CBE75B1CE17C}"/>
          </ac:spMkLst>
        </pc:spChg>
      </pc:sldChg>
      <pc:sldChg chg="modSp">
        <pc:chgData name="Guest User" userId="S::urn:spo:anon#c437c167f923f422528aee73b5e70e5726914197d2dec7f210a84ae49e8498a7::" providerId="AD" clId="Web-{61E2CC05-A81E-D6D7-99A6-13CD4867B46D}" dt="2022-04-04T14:00:09.939" v="9" actId="20577"/>
        <pc:sldMkLst>
          <pc:docMk/>
          <pc:sldMk cId="3514561185" sldId="374"/>
        </pc:sldMkLst>
        <pc:spChg chg="mod">
          <ac:chgData name="Guest User" userId="S::urn:spo:anon#c437c167f923f422528aee73b5e70e5726914197d2dec7f210a84ae49e8498a7::" providerId="AD" clId="Web-{61E2CC05-A81E-D6D7-99A6-13CD4867B46D}" dt="2022-04-04T14:00:09.939" v="9" actId="20577"/>
          <ac:spMkLst>
            <pc:docMk/>
            <pc:sldMk cId="3514561185" sldId="374"/>
            <ac:spMk id="331" creationId="{00000000-0000-0000-0000-000000000000}"/>
          </ac:spMkLst>
        </pc:spChg>
      </pc:sldChg>
      <pc:sldChg chg="addSp delSp modSp">
        <pc:chgData name="Guest User" userId="S::urn:spo:anon#c437c167f923f422528aee73b5e70e5726914197d2dec7f210a84ae49e8498a7::" providerId="AD" clId="Web-{61E2CC05-A81E-D6D7-99A6-13CD4867B46D}" dt="2022-04-04T14:38:03.198" v="65"/>
        <pc:sldMkLst>
          <pc:docMk/>
          <pc:sldMk cId="3117050842" sldId="377"/>
        </pc:sldMkLst>
        <pc:spChg chg="mod">
          <ac:chgData name="Guest User" userId="S::urn:spo:anon#c437c167f923f422528aee73b5e70e5726914197d2dec7f210a84ae49e8498a7::" providerId="AD" clId="Web-{61E2CC05-A81E-D6D7-99A6-13CD4867B46D}" dt="2022-04-04T14:35:01.320" v="32" actId="14100"/>
          <ac:spMkLst>
            <pc:docMk/>
            <pc:sldMk cId="3117050842" sldId="377"/>
            <ac:spMk id="2" creationId="{AB52A157-2CB8-6DCB-8D3B-00713BF25DCA}"/>
          </ac:spMkLst>
        </pc:spChg>
        <pc:spChg chg="mod">
          <ac:chgData name="Guest User" userId="S::urn:spo:anon#c437c167f923f422528aee73b5e70e5726914197d2dec7f210a84ae49e8498a7::" providerId="AD" clId="Web-{61E2CC05-A81E-D6D7-99A6-13CD4867B46D}" dt="2022-04-04T14:35:06.413" v="33" actId="1076"/>
          <ac:spMkLst>
            <pc:docMk/>
            <pc:sldMk cId="3117050842" sldId="377"/>
            <ac:spMk id="5" creationId="{36D64229-262E-4A6E-9C18-00F422DCB439}"/>
          </ac:spMkLst>
        </pc:spChg>
        <pc:spChg chg="mod">
          <ac:chgData name="Guest User" userId="S::urn:spo:anon#c437c167f923f422528aee73b5e70e5726914197d2dec7f210a84ae49e8498a7::" providerId="AD" clId="Web-{61E2CC05-A81E-D6D7-99A6-13CD4867B46D}" dt="2022-04-04T14:37:53.901" v="62" actId="1076"/>
          <ac:spMkLst>
            <pc:docMk/>
            <pc:sldMk cId="3117050842" sldId="377"/>
            <ac:spMk id="9" creationId="{A559BC09-4387-488E-85BC-CBE75B1CE17C}"/>
          </ac:spMkLst>
        </pc:spChg>
        <pc:spChg chg="add mod">
          <ac:chgData name="Guest User" userId="S::urn:spo:anon#c437c167f923f422528aee73b5e70e5726914197d2dec7f210a84ae49e8498a7::" providerId="AD" clId="Web-{61E2CC05-A81E-D6D7-99A6-13CD4867B46D}" dt="2022-04-04T14:37:45.620" v="60" actId="14100"/>
          <ac:spMkLst>
            <pc:docMk/>
            <pc:sldMk cId="3117050842" sldId="377"/>
            <ac:spMk id="11" creationId="{C1418990-22FB-4D1F-EAB1-69EB1F676AC0}"/>
          </ac:spMkLst>
        </pc:spChg>
        <pc:spChg chg="add del mod">
          <ac:chgData name="Guest User" userId="S::urn:spo:anon#c437c167f923f422528aee73b5e70e5726914197d2dec7f210a84ae49e8498a7::" providerId="AD" clId="Web-{61E2CC05-A81E-D6D7-99A6-13CD4867B46D}" dt="2022-04-04T14:38:03.198" v="65"/>
          <ac:spMkLst>
            <pc:docMk/>
            <pc:sldMk cId="3117050842" sldId="377"/>
            <ac:spMk id="12" creationId="{63B4C014-284B-1902-63A0-674CB001A678}"/>
          </ac:spMkLst>
        </pc:spChg>
      </pc:sldChg>
    </pc:docChg>
  </pc:docChgLst>
  <pc:docChgLst>
    <pc:chgData name="Tami Corson" userId="17b03132-2f21-4edf-a2df-f25c30f43233" providerId="ADAL" clId="{DE91C734-911C-4AEA-859B-D1325E341CA2}"/>
    <pc:docChg chg="undo redo custSel addSld delSld modSld sldOrd">
      <pc:chgData name="Tami Corson" userId="17b03132-2f21-4edf-a2df-f25c30f43233" providerId="ADAL" clId="{DE91C734-911C-4AEA-859B-D1325E341CA2}" dt="2022-04-05T19:18:23.024" v="12862" actId="3626"/>
      <pc:docMkLst>
        <pc:docMk/>
      </pc:docMkLst>
      <pc:sldChg chg="delSp modSp mod">
        <pc:chgData name="Tami Corson" userId="17b03132-2f21-4edf-a2df-f25c30f43233" providerId="ADAL" clId="{DE91C734-911C-4AEA-859B-D1325E341CA2}" dt="2022-04-05T17:37:42.563" v="12858" actId="478"/>
        <pc:sldMkLst>
          <pc:docMk/>
          <pc:sldMk cId="0" sldId="256"/>
        </pc:sldMkLst>
        <pc:spChg chg="del mod">
          <ac:chgData name="Tami Corson" userId="17b03132-2f21-4edf-a2df-f25c30f43233" providerId="ADAL" clId="{DE91C734-911C-4AEA-859B-D1325E341CA2}" dt="2022-04-05T17:37:42.563" v="12858" actId="478"/>
          <ac:spMkLst>
            <pc:docMk/>
            <pc:sldMk cId="0" sldId="256"/>
            <ac:spMk id="3" creationId="{B0238991-4556-F277-0C05-9F462522ACC4}"/>
          </ac:spMkLst>
        </pc:spChg>
        <pc:spChg chg="mod">
          <ac:chgData name="Tami Corson" userId="17b03132-2f21-4edf-a2df-f25c30f43233" providerId="ADAL" clId="{DE91C734-911C-4AEA-859B-D1325E341CA2}" dt="2022-03-26T13:03:00.444" v="1" actId="20577"/>
          <ac:spMkLst>
            <pc:docMk/>
            <pc:sldMk cId="0" sldId="256"/>
            <ac:spMk id="184" creationId="{00000000-0000-0000-0000-000000000000}"/>
          </ac:spMkLst>
        </pc:spChg>
        <pc:spChg chg="mod">
          <ac:chgData name="Tami Corson" userId="17b03132-2f21-4edf-a2df-f25c30f43233" providerId="ADAL" clId="{DE91C734-911C-4AEA-859B-D1325E341CA2}" dt="2022-03-26T13:03:21.678" v="23" actId="20577"/>
          <ac:spMkLst>
            <pc:docMk/>
            <pc:sldMk cId="0" sldId="256"/>
            <ac:spMk id="185" creationId="{00000000-0000-0000-0000-000000000000}"/>
          </ac:spMkLst>
        </pc:spChg>
      </pc:sldChg>
      <pc:sldChg chg="modSp mod">
        <pc:chgData name="Tami Corson" userId="17b03132-2f21-4edf-a2df-f25c30f43233" providerId="ADAL" clId="{DE91C734-911C-4AEA-859B-D1325E341CA2}" dt="2022-04-05T17:16:32.262" v="12844" actId="2"/>
        <pc:sldMkLst>
          <pc:docMk/>
          <pc:sldMk cId="0" sldId="257"/>
        </pc:sldMkLst>
        <pc:spChg chg="mod">
          <ac:chgData name="Tami Corson" userId="17b03132-2f21-4edf-a2df-f25c30f43233" providerId="ADAL" clId="{DE91C734-911C-4AEA-859B-D1325E341CA2}" dt="2022-03-26T13:03:33.364" v="28" actId="20577"/>
          <ac:spMkLst>
            <pc:docMk/>
            <pc:sldMk cId="0" sldId="257"/>
            <ac:spMk id="4" creationId="{8570B07F-C2EE-4D23-B889-B458FC8A4A4A}"/>
          </ac:spMkLst>
        </pc:spChg>
        <pc:spChg chg="mod">
          <ac:chgData name="Tami Corson" userId="17b03132-2f21-4edf-a2df-f25c30f43233" providerId="ADAL" clId="{DE91C734-911C-4AEA-859B-D1325E341CA2}" dt="2022-03-28T13:41:24.703" v="5841" actId="20577"/>
          <ac:spMkLst>
            <pc:docMk/>
            <pc:sldMk cId="0" sldId="257"/>
            <ac:spMk id="44" creationId="{28E8AA2B-7E30-48CF-86E4-5464130C7279}"/>
          </ac:spMkLst>
        </pc:spChg>
        <pc:spChg chg="mod">
          <ac:chgData name="Tami Corson" userId="17b03132-2f21-4edf-a2df-f25c30f43233" providerId="ADAL" clId="{DE91C734-911C-4AEA-859B-D1325E341CA2}" dt="2022-03-26T13:04:33.128" v="48" actId="20577"/>
          <ac:spMkLst>
            <pc:docMk/>
            <pc:sldMk cId="0" sldId="257"/>
            <ac:spMk id="195" creationId="{00000000-0000-0000-0000-000000000000}"/>
          </ac:spMkLst>
        </pc:spChg>
        <pc:spChg chg="mod">
          <ac:chgData name="Tami Corson" userId="17b03132-2f21-4edf-a2df-f25c30f43233" providerId="ADAL" clId="{DE91C734-911C-4AEA-859B-D1325E341CA2}" dt="2022-04-05T17:16:32.262" v="12844" actId="2"/>
          <ac:spMkLst>
            <pc:docMk/>
            <pc:sldMk cId="0" sldId="257"/>
            <ac:spMk id="218" creationId="{00000000-0000-0000-0000-000000000000}"/>
          </ac:spMkLst>
        </pc:spChg>
      </pc:sldChg>
      <pc:sldChg chg="modSp mod">
        <pc:chgData name="Tami Corson" userId="17b03132-2f21-4edf-a2df-f25c30f43233" providerId="ADAL" clId="{DE91C734-911C-4AEA-859B-D1325E341CA2}" dt="2022-03-26T13:04:21.604" v="46" actId="20577"/>
        <pc:sldMkLst>
          <pc:docMk/>
          <pc:sldMk cId="0" sldId="258"/>
        </pc:sldMkLst>
        <pc:spChg chg="mod">
          <ac:chgData name="Tami Corson" userId="17b03132-2f21-4edf-a2df-f25c30f43233" providerId="ADAL" clId="{DE91C734-911C-4AEA-859B-D1325E341CA2}" dt="2022-03-26T13:04:21.604" v="46" actId="20577"/>
          <ac:spMkLst>
            <pc:docMk/>
            <pc:sldMk cId="0" sldId="258"/>
            <ac:spMk id="244" creationId="{00000000-0000-0000-0000-000000000000}"/>
          </ac:spMkLst>
        </pc:spChg>
      </pc:sldChg>
      <pc:sldChg chg="addSp delSp modSp mod">
        <pc:chgData name="Tami Corson" userId="17b03132-2f21-4edf-a2df-f25c30f43233" providerId="ADAL" clId="{DE91C734-911C-4AEA-859B-D1325E341CA2}" dt="2022-04-05T15:29:43.203" v="12389" actId="1076"/>
        <pc:sldMkLst>
          <pc:docMk/>
          <pc:sldMk cId="0" sldId="259"/>
        </pc:sldMkLst>
        <pc:spChg chg="add del mod">
          <ac:chgData name="Tami Corson" userId="17b03132-2f21-4edf-a2df-f25c30f43233" providerId="ADAL" clId="{DE91C734-911C-4AEA-859B-D1325E341CA2}" dt="2022-03-26T14:05:10.666" v="5778" actId="767"/>
          <ac:spMkLst>
            <pc:docMk/>
            <pc:sldMk cId="0" sldId="259"/>
            <ac:spMk id="2" creationId="{29FE6A70-95E1-4AB3-85B8-1DB8ABCBDF4F}"/>
          </ac:spMkLst>
        </pc:spChg>
        <pc:spChg chg="add del mod">
          <ac:chgData name="Tami Corson" userId="17b03132-2f21-4edf-a2df-f25c30f43233" providerId="ADAL" clId="{DE91C734-911C-4AEA-859B-D1325E341CA2}" dt="2022-03-31T18:44:11.516" v="9476" actId="478"/>
          <ac:spMkLst>
            <pc:docMk/>
            <pc:sldMk cId="0" sldId="259"/>
            <ac:spMk id="61" creationId="{4BA3EC63-1DC5-486F-98BD-5666DBC31E58}"/>
          </ac:spMkLst>
        </pc:spChg>
        <pc:spChg chg="mod">
          <ac:chgData name="Tami Corson" userId="17b03132-2f21-4edf-a2df-f25c30f43233" providerId="ADAL" clId="{DE91C734-911C-4AEA-859B-D1325E341CA2}" dt="2022-03-26T13:05:30.135" v="58" actId="20577"/>
          <ac:spMkLst>
            <pc:docMk/>
            <pc:sldMk cId="0" sldId="259"/>
            <ac:spMk id="265" creationId="{00000000-0000-0000-0000-000000000000}"/>
          </ac:spMkLst>
        </pc:spChg>
        <pc:spChg chg="mod">
          <ac:chgData name="Tami Corson" userId="17b03132-2f21-4edf-a2df-f25c30f43233" providerId="ADAL" clId="{DE91C734-911C-4AEA-859B-D1325E341CA2}" dt="2022-03-26T13:05:05.949" v="50" actId="14100"/>
          <ac:spMkLst>
            <pc:docMk/>
            <pc:sldMk cId="0" sldId="259"/>
            <ac:spMk id="311" creationId="{00000000-0000-0000-0000-000000000000}"/>
          </ac:spMkLst>
        </pc:spChg>
        <pc:spChg chg="mod">
          <ac:chgData name="Tami Corson" userId="17b03132-2f21-4edf-a2df-f25c30f43233" providerId="ADAL" clId="{DE91C734-911C-4AEA-859B-D1325E341CA2}" dt="2022-04-05T15:29:43.203" v="12389" actId="1076"/>
          <ac:spMkLst>
            <pc:docMk/>
            <pc:sldMk cId="0" sldId="259"/>
            <ac:spMk id="312" creationId="{00000000-0000-0000-0000-000000000000}"/>
          </ac:spMkLst>
        </pc:spChg>
        <pc:grpChg chg="mod">
          <ac:chgData name="Tami Corson" userId="17b03132-2f21-4edf-a2df-f25c30f43233" providerId="ADAL" clId="{DE91C734-911C-4AEA-859B-D1325E341CA2}" dt="2022-04-05T01:52:45.294" v="11396" actId="1076"/>
          <ac:grpSpMkLst>
            <pc:docMk/>
            <pc:sldMk cId="0" sldId="259"/>
            <ac:grpSpMk id="315" creationId="{00000000-0000-0000-0000-000000000000}"/>
          </ac:grpSpMkLst>
        </pc:grpChg>
      </pc:sldChg>
      <pc:sldChg chg="modSp mod">
        <pc:chgData name="Tami Corson" userId="17b03132-2f21-4edf-a2df-f25c30f43233" providerId="ADAL" clId="{DE91C734-911C-4AEA-859B-D1325E341CA2}" dt="2022-03-26T13:06:25.763" v="70" actId="20577"/>
        <pc:sldMkLst>
          <pc:docMk/>
          <pc:sldMk cId="0" sldId="260"/>
        </pc:sldMkLst>
        <pc:spChg chg="mod">
          <ac:chgData name="Tami Corson" userId="17b03132-2f21-4edf-a2df-f25c30f43233" providerId="ADAL" clId="{DE91C734-911C-4AEA-859B-D1325E341CA2}" dt="2022-03-26T13:06:25.763" v="70" actId="20577"/>
          <ac:spMkLst>
            <pc:docMk/>
            <pc:sldMk cId="0" sldId="260"/>
            <ac:spMk id="2" creationId="{F23191FC-7B29-89F5-21F1-7FF0E32525D9}"/>
          </ac:spMkLst>
        </pc:spChg>
        <pc:spChg chg="mod">
          <ac:chgData name="Tami Corson" userId="17b03132-2f21-4edf-a2df-f25c30f43233" providerId="ADAL" clId="{DE91C734-911C-4AEA-859B-D1325E341CA2}" dt="2022-03-26T13:05:55.141" v="60" actId="20577"/>
          <ac:spMkLst>
            <pc:docMk/>
            <pc:sldMk cId="0" sldId="260"/>
            <ac:spMk id="325" creationId="{00000000-0000-0000-0000-000000000000}"/>
          </ac:spMkLst>
        </pc:spChg>
      </pc:sldChg>
      <pc:sldChg chg="modSp mod">
        <pc:chgData name="Tami Corson" userId="17b03132-2f21-4edf-a2df-f25c30f43233" providerId="ADAL" clId="{DE91C734-911C-4AEA-859B-D1325E341CA2}" dt="2022-03-26T13:06:59.465" v="81" actId="20577"/>
        <pc:sldMkLst>
          <pc:docMk/>
          <pc:sldMk cId="0" sldId="261"/>
        </pc:sldMkLst>
        <pc:spChg chg="mod">
          <ac:chgData name="Tami Corson" userId="17b03132-2f21-4edf-a2df-f25c30f43233" providerId="ADAL" clId="{DE91C734-911C-4AEA-859B-D1325E341CA2}" dt="2022-03-26T13:06:48.701" v="71" actId="13926"/>
          <ac:spMkLst>
            <pc:docMk/>
            <pc:sldMk cId="0" sldId="261"/>
            <ac:spMk id="331" creationId="{00000000-0000-0000-0000-000000000000}"/>
          </ac:spMkLst>
        </pc:spChg>
        <pc:spChg chg="mod">
          <ac:chgData name="Tami Corson" userId="17b03132-2f21-4edf-a2df-f25c30f43233" providerId="ADAL" clId="{DE91C734-911C-4AEA-859B-D1325E341CA2}" dt="2022-03-26T13:06:59.465" v="81" actId="20577"/>
          <ac:spMkLst>
            <pc:docMk/>
            <pc:sldMk cId="0" sldId="261"/>
            <ac:spMk id="337" creationId="{00000000-0000-0000-0000-000000000000}"/>
          </ac:spMkLst>
        </pc:spChg>
      </pc:sldChg>
      <pc:sldChg chg="ord">
        <pc:chgData name="Tami Corson" userId="17b03132-2f21-4edf-a2df-f25c30f43233" providerId="ADAL" clId="{DE91C734-911C-4AEA-859B-D1325E341CA2}" dt="2022-03-26T13:12:33.437" v="123"/>
        <pc:sldMkLst>
          <pc:docMk/>
          <pc:sldMk cId="0" sldId="262"/>
        </pc:sldMkLst>
      </pc:sldChg>
      <pc:sldChg chg="modSp mod">
        <pc:chgData name="Tami Corson" userId="17b03132-2f21-4edf-a2df-f25c30f43233" providerId="ADAL" clId="{DE91C734-911C-4AEA-859B-D1325E341CA2}" dt="2022-03-26T13:14:33.780" v="144" actId="20577"/>
        <pc:sldMkLst>
          <pc:docMk/>
          <pc:sldMk cId="0" sldId="263"/>
        </pc:sldMkLst>
        <pc:spChg chg="mod">
          <ac:chgData name="Tami Corson" userId="17b03132-2f21-4edf-a2df-f25c30f43233" providerId="ADAL" clId="{DE91C734-911C-4AEA-859B-D1325E341CA2}" dt="2022-03-26T13:14:33.780" v="144" actId="20577"/>
          <ac:spMkLst>
            <pc:docMk/>
            <pc:sldMk cId="0" sldId="263"/>
            <ac:spMk id="2" creationId="{820A4734-2A64-812C-44F5-9C35D9905FB2}"/>
          </ac:spMkLst>
        </pc:spChg>
        <pc:spChg chg="mod">
          <ac:chgData name="Tami Corson" userId="17b03132-2f21-4edf-a2df-f25c30f43233" providerId="ADAL" clId="{DE91C734-911C-4AEA-859B-D1325E341CA2}" dt="2022-03-26T13:14:20.960" v="134" actId="20577"/>
          <ac:spMkLst>
            <pc:docMk/>
            <pc:sldMk cId="0" sldId="263"/>
            <ac:spMk id="460" creationId="{00000000-0000-0000-0000-000000000000}"/>
          </ac:spMkLst>
        </pc:spChg>
        <pc:spChg chg="mod">
          <ac:chgData name="Tami Corson" userId="17b03132-2f21-4edf-a2df-f25c30f43233" providerId="ADAL" clId="{DE91C734-911C-4AEA-859B-D1325E341CA2}" dt="2022-03-26T13:14:18.299" v="132" actId="20577"/>
          <ac:spMkLst>
            <pc:docMk/>
            <pc:sldMk cId="0" sldId="263"/>
            <ac:spMk id="461" creationId="{00000000-0000-0000-0000-000000000000}"/>
          </ac:spMkLst>
        </pc:spChg>
      </pc:sldChg>
      <pc:sldChg chg="addSp delSp modSp mod">
        <pc:chgData name="Tami Corson" userId="17b03132-2f21-4edf-a2df-f25c30f43233" providerId="ADAL" clId="{DE91C734-911C-4AEA-859B-D1325E341CA2}" dt="2022-04-05T15:33:24.665" v="12459" actId="1076"/>
        <pc:sldMkLst>
          <pc:docMk/>
          <pc:sldMk cId="0" sldId="264"/>
        </pc:sldMkLst>
        <pc:spChg chg="add mod">
          <ac:chgData name="Tami Corson" userId="17b03132-2f21-4edf-a2df-f25c30f43233" providerId="ADAL" clId="{DE91C734-911C-4AEA-859B-D1325E341CA2}" dt="2022-03-26T14:03:55.182" v="5710" actId="20577"/>
          <ac:spMkLst>
            <pc:docMk/>
            <pc:sldMk cId="0" sldId="264"/>
            <ac:spMk id="2" creationId="{602D9FA4-F15C-4D1D-AEB7-B89F3D495002}"/>
          </ac:spMkLst>
        </pc:spChg>
        <pc:spChg chg="add mod">
          <ac:chgData name="Tami Corson" userId="17b03132-2f21-4edf-a2df-f25c30f43233" providerId="ADAL" clId="{DE91C734-911C-4AEA-859B-D1325E341CA2}" dt="2022-04-05T15:33:06.002" v="12458" actId="207"/>
          <ac:spMkLst>
            <pc:docMk/>
            <pc:sldMk cId="0" sldId="264"/>
            <ac:spMk id="2" creationId="{F6BBEB41-92FB-4F29-AAB3-55FCF4F92B4B}"/>
          </ac:spMkLst>
        </pc:spChg>
        <pc:spChg chg="del">
          <ac:chgData name="Tami Corson" userId="17b03132-2f21-4edf-a2df-f25c30f43233" providerId="ADAL" clId="{DE91C734-911C-4AEA-859B-D1325E341CA2}" dt="2022-04-04T17:28:32.693" v="11053" actId="478"/>
          <ac:spMkLst>
            <pc:docMk/>
            <pc:sldMk cId="0" sldId="264"/>
            <ac:spMk id="4" creationId="{2A7D3A66-4741-5C35-EDF0-07C9E0489A88}"/>
          </ac:spMkLst>
        </pc:spChg>
        <pc:spChg chg="mod">
          <ac:chgData name="Tami Corson" userId="17b03132-2f21-4edf-a2df-f25c30f43233" providerId="ADAL" clId="{DE91C734-911C-4AEA-859B-D1325E341CA2}" dt="2022-04-04T17:27:49.384" v="11051" actId="1076"/>
          <ac:spMkLst>
            <pc:docMk/>
            <pc:sldMk cId="0" sldId="264"/>
            <ac:spMk id="26" creationId="{63D5B65A-793E-4E79-B52C-834340BABD85}"/>
          </ac:spMkLst>
        </pc:spChg>
        <pc:spChg chg="add del mod">
          <ac:chgData name="Tami Corson" userId="17b03132-2f21-4edf-a2df-f25c30f43233" providerId="ADAL" clId="{DE91C734-911C-4AEA-859B-D1325E341CA2}" dt="2022-04-04T17:28:38.829" v="11054" actId="478"/>
          <ac:spMkLst>
            <pc:docMk/>
            <pc:sldMk cId="0" sldId="264"/>
            <ac:spMk id="27" creationId="{5326A9EE-D7DA-42EE-827F-1C7E490483EE}"/>
          </ac:spMkLst>
        </pc:spChg>
        <pc:spChg chg="mod">
          <ac:chgData name="Tami Corson" userId="17b03132-2f21-4edf-a2df-f25c30f43233" providerId="ADAL" clId="{DE91C734-911C-4AEA-859B-D1325E341CA2}" dt="2022-04-04T17:26:13.864" v="11019" actId="20577"/>
          <ac:spMkLst>
            <pc:docMk/>
            <pc:sldMk cId="0" sldId="264"/>
            <ac:spMk id="29" creationId="{CE4534C1-122C-4584-960F-B0117C9A488A}"/>
          </ac:spMkLst>
        </pc:spChg>
        <pc:spChg chg="mod">
          <ac:chgData name="Tami Corson" userId="17b03132-2f21-4edf-a2df-f25c30f43233" providerId="ADAL" clId="{DE91C734-911C-4AEA-859B-D1325E341CA2}" dt="2022-04-04T17:27:26.274" v="11049" actId="20577"/>
          <ac:spMkLst>
            <pc:docMk/>
            <pc:sldMk cId="0" sldId="264"/>
            <ac:spMk id="30" creationId="{100AEE39-1F64-4466-ACEE-5B01ED088536}"/>
          </ac:spMkLst>
        </pc:spChg>
        <pc:spChg chg="mod">
          <ac:chgData name="Tami Corson" userId="17b03132-2f21-4edf-a2df-f25c30f43233" providerId="ADAL" clId="{DE91C734-911C-4AEA-859B-D1325E341CA2}" dt="2022-03-26T13:17:31.116" v="378" actId="6549"/>
          <ac:spMkLst>
            <pc:docMk/>
            <pc:sldMk cId="0" sldId="264"/>
            <ac:spMk id="471" creationId="{00000000-0000-0000-0000-000000000000}"/>
          </ac:spMkLst>
        </pc:spChg>
        <pc:spChg chg="mod">
          <ac:chgData name="Tami Corson" userId="17b03132-2f21-4edf-a2df-f25c30f43233" providerId="ADAL" clId="{DE91C734-911C-4AEA-859B-D1325E341CA2}" dt="2022-03-26T13:53:42.182" v="5159" actId="13926"/>
          <ac:spMkLst>
            <pc:docMk/>
            <pc:sldMk cId="0" sldId="264"/>
            <ac:spMk id="472" creationId="{00000000-0000-0000-0000-000000000000}"/>
          </ac:spMkLst>
        </pc:spChg>
        <pc:grpChg chg="mod">
          <ac:chgData name="Tami Corson" userId="17b03132-2f21-4edf-a2df-f25c30f43233" providerId="ADAL" clId="{DE91C734-911C-4AEA-859B-D1325E341CA2}" dt="2022-04-05T15:33:24.665" v="12459" actId="1076"/>
          <ac:grpSpMkLst>
            <pc:docMk/>
            <pc:sldMk cId="0" sldId="264"/>
            <ac:grpSpMk id="71" creationId="{6AE99249-61B0-4010-A9C3-CCC1E2A6D758}"/>
          </ac:grpSpMkLst>
        </pc:grpChg>
        <pc:grpChg chg="mod">
          <ac:chgData name="Tami Corson" userId="17b03132-2f21-4edf-a2df-f25c30f43233" providerId="ADAL" clId="{DE91C734-911C-4AEA-859B-D1325E341CA2}" dt="2022-04-04T17:27:55.781" v="11052" actId="1076"/>
          <ac:grpSpMkLst>
            <pc:docMk/>
            <pc:sldMk cId="0" sldId="264"/>
            <ac:grpSpMk id="75" creationId="{2F4C0EEE-B2A5-4F5F-BA6D-5346F5BDD0C0}"/>
          </ac:grpSpMkLst>
        </pc:grpChg>
        <pc:graphicFrameChg chg="mod">
          <ac:chgData name="Tami Corson" userId="17b03132-2f21-4edf-a2df-f25c30f43233" providerId="ADAL" clId="{DE91C734-911C-4AEA-859B-D1325E341CA2}" dt="2022-04-04T17:11:14.538" v="10856" actId="1076"/>
          <ac:graphicFrameMkLst>
            <pc:docMk/>
            <pc:sldMk cId="0" sldId="264"/>
            <ac:graphicFrameMk id="488" creationId="{00000000-0000-0000-0000-000000000000}"/>
          </ac:graphicFrameMkLst>
        </pc:graphicFrameChg>
        <pc:cxnChg chg="mod">
          <ac:chgData name="Tami Corson" userId="17b03132-2f21-4edf-a2df-f25c30f43233" providerId="ADAL" clId="{DE91C734-911C-4AEA-859B-D1325E341CA2}" dt="2022-04-04T17:11:21.279" v="10857" actId="1076"/>
          <ac:cxnSpMkLst>
            <pc:docMk/>
            <pc:sldMk cId="0" sldId="264"/>
            <ac:cxnSpMk id="24" creationId="{9895C561-40F6-FFF0-1D13-CF25703C5BED}"/>
          </ac:cxnSpMkLst>
        </pc:cxnChg>
        <pc:cxnChg chg="mod">
          <ac:chgData name="Tami Corson" userId="17b03132-2f21-4edf-a2df-f25c30f43233" providerId="ADAL" clId="{DE91C734-911C-4AEA-859B-D1325E341CA2}" dt="2022-04-04T17:27:41.277" v="11050" actId="1076"/>
          <ac:cxnSpMkLst>
            <pc:docMk/>
            <pc:sldMk cId="0" sldId="264"/>
            <ac:cxnSpMk id="83" creationId="{8A2F6C26-81D3-43E5-B4BE-4DD32D42E75D}"/>
          </ac:cxnSpMkLst>
        </pc:cxnChg>
        <pc:cxnChg chg="mod">
          <ac:chgData name="Tami Corson" userId="17b03132-2f21-4edf-a2df-f25c30f43233" providerId="ADAL" clId="{DE91C734-911C-4AEA-859B-D1325E341CA2}" dt="2022-04-04T17:11:55.868" v="10861" actId="1076"/>
          <ac:cxnSpMkLst>
            <pc:docMk/>
            <pc:sldMk cId="0" sldId="264"/>
            <ac:cxnSpMk id="84" creationId="{AC6210DF-562A-41C9-9E37-6F2588D8CA5A}"/>
          </ac:cxnSpMkLst>
        </pc:cxnChg>
      </pc:sldChg>
      <pc:sldChg chg="addSp delSp modSp mod">
        <pc:chgData name="Tami Corson" userId="17b03132-2f21-4edf-a2df-f25c30f43233" providerId="ADAL" clId="{DE91C734-911C-4AEA-859B-D1325E341CA2}" dt="2022-04-05T17:16:38.025" v="12846"/>
        <pc:sldMkLst>
          <pc:docMk/>
          <pc:sldMk cId="0" sldId="267"/>
        </pc:sldMkLst>
        <pc:spChg chg="del mod">
          <ac:chgData name="Tami Corson" userId="17b03132-2f21-4edf-a2df-f25c30f43233" providerId="ADAL" clId="{DE91C734-911C-4AEA-859B-D1325E341CA2}" dt="2022-03-26T13:33:49.843" v="3391" actId="478"/>
          <ac:spMkLst>
            <pc:docMk/>
            <pc:sldMk cId="0" sldId="267"/>
            <ac:spMk id="6" creationId="{D1B67900-A55A-49E3-9F1F-6FA28D277895}"/>
          </ac:spMkLst>
        </pc:spChg>
        <pc:spChg chg="mod">
          <ac:chgData name="Tami Corson" userId="17b03132-2f21-4edf-a2df-f25c30f43233" providerId="ADAL" clId="{DE91C734-911C-4AEA-859B-D1325E341CA2}" dt="2022-03-26T13:32:21.547" v="3200" actId="20577"/>
          <ac:spMkLst>
            <pc:docMk/>
            <pc:sldMk cId="0" sldId="267"/>
            <ac:spMk id="7" creationId="{C840A1AA-DEE9-4A69-BC08-B46800497F9A}"/>
          </ac:spMkLst>
        </pc:spChg>
        <pc:spChg chg="add del mod">
          <ac:chgData name="Tami Corson" userId="17b03132-2f21-4edf-a2df-f25c30f43233" providerId="ADAL" clId="{DE91C734-911C-4AEA-859B-D1325E341CA2}" dt="2022-03-26T13:45:14.697" v="4675" actId="478"/>
          <ac:spMkLst>
            <pc:docMk/>
            <pc:sldMk cId="0" sldId="267"/>
            <ac:spMk id="9" creationId="{60FFE6A5-D18B-4D33-8AFD-1622F20415D5}"/>
          </ac:spMkLst>
        </pc:spChg>
        <pc:spChg chg="add mod">
          <ac:chgData name="Tami Corson" userId="17b03132-2f21-4edf-a2df-f25c30f43233" providerId="ADAL" clId="{DE91C734-911C-4AEA-859B-D1325E341CA2}" dt="2022-04-05T17:16:38.025" v="12846"/>
          <ac:spMkLst>
            <pc:docMk/>
            <pc:sldMk cId="0" sldId="267"/>
            <ac:spMk id="15" creationId="{0FE28857-EB53-498A-9EED-560FE4996A1D}"/>
          </ac:spMkLst>
        </pc:spChg>
        <pc:spChg chg="add mod">
          <ac:chgData name="Tami Corson" userId="17b03132-2f21-4edf-a2df-f25c30f43233" providerId="ADAL" clId="{DE91C734-911C-4AEA-859B-D1325E341CA2}" dt="2022-03-31T18:46:11.085" v="9555" actId="20577"/>
          <ac:spMkLst>
            <pc:docMk/>
            <pc:sldMk cId="0" sldId="267"/>
            <ac:spMk id="15" creationId="{1E4F1338-17C9-4FF2-9D25-BE5608D8C1F6}"/>
          </ac:spMkLst>
        </pc:spChg>
        <pc:spChg chg="add mod">
          <ac:chgData name="Tami Corson" userId="17b03132-2f21-4edf-a2df-f25c30f43233" providerId="ADAL" clId="{DE91C734-911C-4AEA-859B-D1325E341CA2}" dt="2022-03-26T13:45:09.009" v="4674"/>
          <ac:spMkLst>
            <pc:docMk/>
            <pc:sldMk cId="0" sldId="267"/>
            <ac:spMk id="16" creationId="{06D1BAE6-275A-40C2-ABFA-22E1B96BE960}"/>
          </ac:spMkLst>
        </pc:spChg>
        <pc:spChg chg="add del mod">
          <ac:chgData name="Tami Corson" userId="17b03132-2f21-4edf-a2df-f25c30f43233" providerId="ADAL" clId="{DE91C734-911C-4AEA-859B-D1325E341CA2}" dt="2022-04-05T13:57:58.262" v="11876" actId="478"/>
          <ac:spMkLst>
            <pc:docMk/>
            <pc:sldMk cId="0" sldId="267"/>
            <ac:spMk id="17" creationId="{1372D36F-9451-4CFC-B839-E2B9F755D355}"/>
          </ac:spMkLst>
        </pc:spChg>
        <pc:spChg chg="mod">
          <ac:chgData name="Tami Corson" userId="17b03132-2f21-4edf-a2df-f25c30f43233" providerId="ADAL" clId="{DE91C734-911C-4AEA-859B-D1325E341CA2}" dt="2022-03-31T18:46:41.417" v="9558" actId="14100"/>
          <ac:spMkLst>
            <pc:docMk/>
            <pc:sldMk cId="0" sldId="267"/>
            <ac:spMk id="572" creationId="{00000000-0000-0000-0000-000000000000}"/>
          </ac:spMkLst>
        </pc:spChg>
        <pc:spChg chg="mod">
          <ac:chgData name="Tami Corson" userId="17b03132-2f21-4edf-a2df-f25c30f43233" providerId="ADAL" clId="{DE91C734-911C-4AEA-859B-D1325E341CA2}" dt="2022-03-26T13:32:10.942" v="3192" actId="20577"/>
          <ac:spMkLst>
            <pc:docMk/>
            <pc:sldMk cId="0" sldId="267"/>
            <ac:spMk id="575" creationId="{00000000-0000-0000-0000-000000000000}"/>
          </ac:spMkLst>
        </pc:spChg>
        <pc:spChg chg="mod">
          <ac:chgData name="Tami Corson" userId="17b03132-2f21-4edf-a2df-f25c30f43233" providerId="ADAL" clId="{DE91C734-911C-4AEA-859B-D1325E341CA2}" dt="2022-04-05T13:26:28.061" v="11753" actId="14100"/>
          <ac:spMkLst>
            <pc:docMk/>
            <pc:sldMk cId="0" sldId="267"/>
            <ac:spMk id="579" creationId="{00000000-0000-0000-0000-000000000000}"/>
          </ac:spMkLst>
        </pc:spChg>
        <pc:picChg chg="mod modCrop">
          <ac:chgData name="Tami Corson" userId="17b03132-2f21-4edf-a2df-f25c30f43233" providerId="ADAL" clId="{DE91C734-911C-4AEA-859B-D1325E341CA2}" dt="2022-04-05T14:02:51.377" v="11962" actId="1076"/>
          <ac:picMkLst>
            <pc:docMk/>
            <pc:sldMk cId="0" sldId="267"/>
            <ac:picMk id="4" creationId="{42EA391A-1865-00F6-A513-7451C70F9F89}"/>
          </ac:picMkLst>
        </pc:picChg>
        <pc:picChg chg="del">
          <ac:chgData name="Tami Corson" userId="17b03132-2f21-4edf-a2df-f25c30f43233" providerId="ADAL" clId="{DE91C734-911C-4AEA-859B-D1325E341CA2}" dt="2022-03-26T13:31:53.959" v="3137" actId="478"/>
          <ac:picMkLst>
            <pc:docMk/>
            <pc:sldMk cId="0" sldId="267"/>
            <ac:picMk id="4" creationId="{E963C357-8F83-411B-B523-2791ED6459DC}"/>
          </ac:picMkLst>
        </pc:picChg>
      </pc:sldChg>
      <pc:sldChg chg="delSp modSp del mod">
        <pc:chgData name="Tami Corson" userId="17b03132-2f21-4edf-a2df-f25c30f43233" providerId="ADAL" clId="{DE91C734-911C-4AEA-859B-D1325E341CA2}" dt="2022-03-30T02:07:18.578" v="8295" actId="47"/>
        <pc:sldMkLst>
          <pc:docMk/>
          <pc:sldMk cId="0" sldId="269"/>
        </pc:sldMkLst>
        <pc:spChg chg="mod">
          <ac:chgData name="Tami Corson" userId="17b03132-2f21-4edf-a2df-f25c30f43233" providerId="ADAL" clId="{DE91C734-911C-4AEA-859B-D1325E341CA2}" dt="2022-03-26T13:24:20.899" v="1522" actId="20577"/>
          <ac:spMkLst>
            <pc:docMk/>
            <pc:sldMk cId="0" sldId="269"/>
            <ac:spMk id="3" creationId="{AC311647-2B4D-4E6C-81D1-9F8580567C0E}"/>
          </ac:spMkLst>
        </pc:spChg>
        <pc:spChg chg="mod">
          <ac:chgData name="Tami Corson" userId="17b03132-2f21-4edf-a2df-f25c30f43233" providerId="ADAL" clId="{DE91C734-911C-4AEA-859B-D1325E341CA2}" dt="2022-03-26T13:22:37.203" v="1123" actId="20577"/>
          <ac:spMkLst>
            <pc:docMk/>
            <pc:sldMk cId="0" sldId="269"/>
            <ac:spMk id="601" creationId="{00000000-0000-0000-0000-000000000000}"/>
          </ac:spMkLst>
        </pc:spChg>
        <pc:spChg chg="mod">
          <ac:chgData name="Tami Corson" userId="17b03132-2f21-4edf-a2df-f25c30f43233" providerId="ADAL" clId="{DE91C734-911C-4AEA-859B-D1325E341CA2}" dt="2022-03-26T13:23:39.591" v="1441" actId="20577"/>
          <ac:spMkLst>
            <pc:docMk/>
            <pc:sldMk cId="0" sldId="269"/>
            <ac:spMk id="605" creationId="{00000000-0000-0000-0000-000000000000}"/>
          </ac:spMkLst>
        </pc:spChg>
        <pc:spChg chg="mod">
          <ac:chgData name="Tami Corson" userId="17b03132-2f21-4edf-a2df-f25c30f43233" providerId="ADAL" clId="{DE91C734-911C-4AEA-859B-D1325E341CA2}" dt="2022-03-26T13:24:04.683" v="1510" actId="6549"/>
          <ac:spMkLst>
            <pc:docMk/>
            <pc:sldMk cId="0" sldId="269"/>
            <ac:spMk id="609" creationId="{00000000-0000-0000-0000-000000000000}"/>
          </ac:spMkLst>
        </pc:spChg>
        <pc:picChg chg="del">
          <ac:chgData name="Tami Corson" userId="17b03132-2f21-4edf-a2df-f25c30f43233" providerId="ADAL" clId="{DE91C734-911C-4AEA-859B-D1325E341CA2}" dt="2022-03-26T13:23:42.895" v="1442" actId="478"/>
          <ac:picMkLst>
            <pc:docMk/>
            <pc:sldMk cId="0" sldId="269"/>
            <ac:picMk id="4" creationId="{A3DE1E23-4D91-4A14-B3F7-C67C5D0DD7A5}"/>
          </ac:picMkLst>
        </pc:picChg>
        <pc:picChg chg="del">
          <ac:chgData name="Tami Corson" userId="17b03132-2f21-4edf-a2df-f25c30f43233" providerId="ADAL" clId="{DE91C734-911C-4AEA-859B-D1325E341CA2}" dt="2022-03-26T13:23:45.588" v="1443" actId="478"/>
          <ac:picMkLst>
            <pc:docMk/>
            <pc:sldMk cId="0" sldId="269"/>
            <ac:picMk id="5" creationId="{9E943CF7-D578-4861-B11C-4ED484043137}"/>
          </ac:picMkLst>
        </pc:picChg>
        <pc:picChg chg="del">
          <ac:chgData name="Tami Corson" userId="17b03132-2f21-4edf-a2df-f25c30f43233" providerId="ADAL" clId="{DE91C734-911C-4AEA-859B-D1325E341CA2}" dt="2022-03-26T13:23:47.998" v="1444" actId="478"/>
          <ac:picMkLst>
            <pc:docMk/>
            <pc:sldMk cId="0" sldId="269"/>
            <ac:picMk id="6" creationId="{7320460E-7625-44AD-8A44-09D8797A39CC}"/>
          </ac:picMkLst>
        </pc:picChg>
      </pc:sldChg>
      <pc:sldChg chg="addSp delSp modSp mod">
        <pc:chgData name="Tami Corson" userId="17b03132-2f21-4edf-a2df-f25c30f43233" providerId="ADAL" clId="{DE91C734-911C-4AEA-859B-D1325E341CA2}" dt="2022-04-05T17:13:54.213" v="12820" actId="478"/>
        <pc:sldMkLst>
          <pc:docMk/>
          <pc:sldMk cId="0" sldId="275"/>
        </pc:sldMkLst>
        <pc:spChg chg="mod">
          <ac:chgData name="Tami Corson" userId="17b03132-2f21-4edf-a2df-f25c30f43233" providerId="ADAL" clId="{DE91C734-911C-4AEA-859B-D1325E341CA2}" dt="2022-03-26T13:50:42.021" v="4978" actId="20577"/>
          <ac:spMkLst>
            <pc:docMk/>
            <pc:sldMk cId="0" sldId="275"/>
            <ac:spMk id="4" creationId="{9AFC4AAF-F922-425A-B866-F54294711148}"/>
          </ac:spMkLst>
        </pc:spChg>
        <pc:spChg chg="del">
          <ac:chgData name="Tami Corson" userId="17b03132-2f21-4edf-a2df-f25c30f43233" providerId="ADAL" clId="{DE91C734-911C-4AEA-859B-D1325E341CA2}" dt="2022-04-05T14:32:26.594" v="12164" actId="478"/>
          <ac:spMkLst>
            <pc:docMk/>
            <pc:sldMk cId="0" sldId="275"/>
            <ac:spMk id="9" creationId="{0FBC84A6-EDCC-927D-4D8D-DFA9A4DCE659}"/>
          </ac:spMkLst>
        </pc:spChg>
        <pc:spChg chg="del mod">
          <ac:chgData name="Tami Corson" userId="17b03132-2f21-4edf-a2df-f25c30f43233" providerId="ADAL" clId="{DE91C734-911C-4AEA-859B-D1325E341CA2}" dt="2022-03-29T23:35:08.724" v="6618" actId="478"/>
          <ac:spMkLst>
            <pc:docMk/>
            <pc:sldMk cId="0" sldId="275"/>
            <ac:spMk id="9" creationId="{89461D6D-F79F-4EDF-961F-0584EC3D92D7}"/>
          </ac:spMkLst>
        </pc:spChg>
        <pc:spChg chg="add del mod">
          <ac:chgData name="Tami Corson" userId="17b03132-2f21-4edf-a2df-f25c30f43233" providerId="ADAL" clId="{DE91C734-911C-4AEA-859B-D1325E341CA2}" dt="2022-04-05T17:13:54.213" v="12820" actId="478"/>
          <ac:spMkLst>
            <pc:docMk/>
            <pc:sldMk cId="0" sldId="275"/>
            <ac:spMk id="10" creationId="{A698D7F4-3A03-4266-B816-9503033CB2A4}"/>
          </ac:spMkLst>
        </pc:spChg>
        <pc:spChg chg="mod">
          <ac:chgData name="Tami Corson" userId="17b03132-2f21-4edf-a2df-f25c30f43233" providerId="ADAL" clId="{DE91C734-911C-4AEA-859B-D1325E341CA2}" dt="2022-03-30T01:25:48.557" v="6933" actId="20577"/>
          <ac:spMkLst>
            <pc:docMk/>
            <pc:sldMk cId="0" sldId="275"/>
            <ac:spMk id="692" creationId="{00000000-0000-0000-0000-000000000000}"/>
          </ac:spMkLst>
        </pc:spChg>
        <pc:spChg chg="mod">
          <ac:chgData name="Tami Corson" userId="17b03132-2f21-4edf-a2df-f25c30f43233" providerId="ADAL" clId="{DE91C734-911C-4AEA-859B-D1325E341CA2}" dt="2022-03-26T13:50:45.554" v="4980" actId="20577"/>
          <ac:spMkLst>
            <pc:docMk/>
            <pc:sldMk cId="0" sldId="275"/>
            <ac:spMk id="695" creationId="{00000000-0000-0000-0000-000000000000}"/>
          </ac:spMkLst>
        </pc:spChg>
        <pc:graphicFrameChg chg="mod modGraphic">
          <ac:chgData name="Tami Corson" userId="17b03132-2f21-4edf-a2df-f25c30f43233" providerId="ADAL" clId="{DE91C734-911C-4AEA-859B-D1325E341CA2}" dt="2022-04-05T17:01:19.716" v="12671" actId="20577"/>
          <ac:graphicFrameMkLst>
            <pc:docMk/>
            <pc:sldMk cId="0" sldId="275"/>
            <ac:graphicFrameMk id="694" creationId="{00000000-0000-0000-0000-000000000000}"/>
          </ac:graphicFrameMkLst>
        </pc:graphicFrameChg>
      </pc:sldChg>
      <pc:sldChg chg="modSp mod">
        <pc:chgData name="Tami Corson" userId="17b03132-2f21-4edf-a2df-f25c30f43233" providerId="ADAL" clId="{DE91C734-911C-4AEA-859B-D1325E341CA2}" dt="2022-03-26T13:51:12.937" v="4994" actId="20577"/>
        <pc:sldMkLst>
          <pc:docMk/>
          <pc:sldMk cId="0" sldId="276"/>
        </pc:sldMkLst>
        <pc:spChg chg="mod">
          <ac:chgData name="Tami Corson" userId="17b03132-2f21-4edf-a2df-f25c30f43233" providerId="ADAL" clId="{DE91C734-911C-4AEA-859B-D1325E341CA2}" dt="2022-03-26T13:51:12.937" v="4994" actId="20577"/>
          <ac:spMkLst>
            <pc:docMk/>
            <pc:sldMk cId="0" sldId="276"/>
            <ac:spMk id="2" creationId="{218A2BF7-C208-A0CB-E88F-A3CA5FD0CE37}"/>
          </ac:spMkLst>
        </pc:spChg>
        <pc:spChg chg="mod">
          <ac:chgData name="Tami Corson" userId="17b03132-2f21-4edf-a2df-f25c30f43233" providerId="ADAL" clId="{DE91C734-911C-4AEA-859B-D1325E341CA2}" dt="2022-03-26T13:50:59.869" v="4982" actId="20577"/>
          <ac:spMkLst>
            <pc:docMk/>
            <pc:sldMk cId="0" sldId="276"/>
            <ac:spMk id="704" creationId="{00000000-0000-0000-0000-000000000000}"/>
          </ac:spMkLst>
        </pc:spChg>
        <pc:spChg chg="mod">
          <ac:chgData name="Tami Corson" userId="17b03132-2f21-4edf-a2df-f25c30f43233" providerId="ADAL" clId="{DE91C734-911C-4AEA-859B-D1325E341CA2}" dt="2022-03-26T13:51:03.349" v="4984" actId="20577"/>
          <ac:spMkLst>
            <pc:docMk/>
            <pc:sldMk cId="0" sldId="276"/>
            <ac:spMk id="705" creationId="{00000000-0000-0000-0000-000000000000}"/>
          </ac:spMkLst>
        </pc:spChg>
      </pc:sldChg>
      <pc:sldChg chg="modSp mod">
        <pc:chgData name="Tami Corson" userId="17b03132-2f21-4edf-a2df-f25c30f43233" providerId="ADAL" clId="{DE91C734-911C-4AEA-859B-D1325E341CA2}" dt="2022-03-26T13:57:12.728" v="5493" actId="20577"/>
        <pc:sldMkLst>
          <pc:docMk/>
          <pc:sldMk cId="0" sldId="279"/>
        </pc:sldMkLst>
        <pc:spChg chg="mod">
          <ac:chgData name="Tami Corson" userId="17b03132-2f21-4edf-a2df-f25c30f43233" providerId="ADAL" clId="{DE91C734-911C-4AEA-859B-D1325E341CA2}" dt="2022-03-26T13:57:12.728" v="5493" actId="20577"/>
          <ac:spMkLst>
            <pc:docMk/>
            <pc:sldMk cId="0" sldId="279"/>
            <ac:spMk id="852" creationId="{00000000-0000-0000-0000-000000000000}"/>
          </ac:spMkLst>
        </pc:spChg>
      </pc:sldChg>
      <pc:sldChg chg="addSp delSp modSp mod">
        <pc:chgData name="Tami Corson" userId="17b03132-2f21-4edf-a2df-f25c30f43233" providerId="ADAL" clId="{DE91C734-911C-4AEA-859B-D1325E341CA2}" dt="2022-04-05T17:16:14.488" v="12843" actId="1076"/>
        <pc:sldMkLst>
          <pc:docMk/>
          <pc:sldMk cId="0" sldId="280"/>
        </pc:sldMkLst>
        <pc:spChg chg="add del mod">
          <ac:chgData name="Tami Corson" userId="17b03132-2f21-4edf-a2df-f25c30f43233" providerId="ADAL" clId="{DE91C734-911C-4AEA-859B-D1325E341CA2}" dt="2022-03-31T19:02:46.788" v="10364" actId="478"/>
          <ac:spMkLst>
            <pc:docMk/>
            <pc:sldMk cId="0" sldId="280"/>
            <ac:spMk id="2" creationId="{8EFB2B33-4D58-4898-9906-DFE768770CEE}"/>
          </ac:spMkLst>
        </pc:spChg>
        <pc:spChg chg="mod">
          <ac:chgData name="Tami Corson" userId="17b03132-2f21-4edf-a2df-f25c30f43233" providerId="ADAL" clId="{DE91C734-911C-4AEA-859B-D1325E341CA2}" dt="2022-03-26T13:57:36.389" v="5503" actId="20577"/>
          <ac:spMkLst>
            <pc:docMk/>
            <pc:sldMk cId="0" sldId="280"/>
            <ac:spMk id="861" creationId="{00000000-0000-0000-0000-000000000000}"/>
          </ac:spMkLst>
        </pc:spChg>
        <pc:spChg chg="mod ord">
          <ac:chgData name="Tami Corson" userId="17b03132-2f21-4edf-a2df-f25c30f43233" providerId="ADAL" clId="{DE91C734-911C-4AEA-859B-D1325E341CA2}" dt="2022-04-04T16:01:28.455" v="10607" actId="1076"/>
          <ac:spMkLst>
            <pc:docMk/>
            <pc:sldMk cId="0" sldId="280"/>
            <ac:spMk id="863" creationId="{00000000-0000-0000-0000-000000000000}"/>
          </ac:spMkLst>
        </pc:spChg>
        <pc:graphicFrameChg chg="mod modGraphic">
          <ac:chgData name="Tami Corson" userId="17b03132-2f21-4edf-a2df-f25c30f43233" providerId="ADAL" clId="{DE91C734-911C-4AEA-859B-D1325E341CA2}" dt="2022-04-05T17:16:14.488" v="12843" actId="1076"/>
          <ac:graphicFrameMkLst>
            <pc:docMk/>
            <pc:sldMk cId="0" sldId="280"/>
            <ac:graphicFrameMk id="858" creationId="{00000000-0000-0000-0000-000000000000}"/>
          </ac:graphicFrameMkLst>
        </pc:graphicFrameChg>
        <pc:picChg chg="add mod">
          <ac:chgData name="Tami Corson" userId="17b03132-2f21-4edf-a2df-f25c30f43233" providerId="ADAL" clId="{DE91C734-911C-4AEA-859B-D1325E341CA2}" dt="2022-04-04T16:01:24.213" v="10606" actId="1076"/>
          <ac:picMkLst>
            <pc:docMk/>
            <pc:sldMk cId="0" sldId="280"/>
            <ac:picMk id="3" creationId="{BF51D7E1-305B-471D-B2E7-58EAE7B022E5}"/>
          </ac:picMkLst>
        </pc:picChg>
        <pc:picChg chg="del mod">
          <ac:chgData name="Tami Corson" userId="17b03132-2f21-4edf-a2df-f25c30f43233" providerId="ADAL" clId="{DE91C734-911C-4AEA-859B-D1325E341CA2}" dt="2022-03-31T18:51:22.250" v="9624" actId="478"/>
          <ac:picMkLst>
            <pc:docMk/>
            <pc:sldMk cId="0" sldId="280"/>
            <ac:picMk id="4" creationId="{CD1668F7-949E-4C30-A027-3AAFA2D68AA5}"/>
          </ac:picMkLst>
        </pc:picChg>
        <pc:picChg chg="add del mod">
          <ac:chgData name="Tami Corson" userId="17b03132-2f21-4edf-a2df-f25c30f43233" providerId="ADAL" clId="{DE91C734-911C-4AEA-859B-D1325E341CA2}" dt="2022-04-04T15:54:34.086" v="10365" actId="478"/>
          <ac:picMkLst>
            <pc:docMk/>
            <pc:sldMk cId="0" sldId="280"/>
            <ac:picMk id="5" creationId="{B529602E-5A52-4D63-9E5E-84E2268E3F12}"/>
          </ac:picMkLst>
        </pc:picChg>
        <pc:cxnChg chg="mod ord">
          <ac:chgData name="Tami Corson" userId="17b03132-2f21-4edf-a2df-f25c30f43233" providerId="ADAL" clId="{DE91C734-911C-4AEA-859B-D1325E341CA2}" dt="2022-04-04T16:01:31.799" v="10608" actId="14100"/>
          <ac:cxnSpMkLst>
            <pc:docMk/>
            <pc:sldMk cId="0" sldId="280"/>
            <ac:cxnSpMk id="864" creationId="{00000000-0000-0000-0000-000000000000}"/>
          </ac:cxnSpMkLst>
        </pc:cxnChg>
      </pc:sldChg>
      <pc:sldChg chg="addSp modSp mod">
        <pc:chgData name="Tami Corson" userId="17b03132-2f21-4edf-a2df-f25c30f43233" providerId="ADAL" clId="{DE91C734-911C-4AEA-859B-D1325E341CA2}" dt="2022-03-26T13:59:57.339" v="5602" actId="1076"/>
        <pc:sldMkLst>
          <pc:docMk/>
          <pc:sldMk cId="0" sldId="283"/>
        </pc:sldMkLst>
        <pc:spChg chg="add mod">
          <ac:chgData name="Tami Corson" userId="17b03132-2f21-4edf-a2df-f25c30f43233" providerId="ADAL" clId="{DE91C734-911C-4AEA-859B-D1325E341CA2}" dt="2022-03-26T13:59:57.339" v="5602" actId="1076"/>
          <ac:spMkLst>
            <pc:docMk/>
            <pc:sldMk cId="0" sldId="283"/>
            <ac:spMk id="20" creationId="{4B2456FF-B645-463D-855D-7AC4CB451808}"/>
          </ac:spMkLst>
        </pc:spChg>
        <pc:spChg chg="mod">
          <ac:chgData name="Tami Corson" userId="17b03132-2f21-4edf-a2df-f25c30f43233" providerId="ADAL" clId="{DE91C734-911C-4AEA-859B-D1325E341CA2}" dt="2022-03-26T13:58:57.232" v="5556" actId="20577"/>
          <ac:spMkLst>
            <pc:docMk/>
            <pc:sldMk cId="0" sldId="283"/>
            <ac:spMk id="929" creationId="{00000000-0000-0000-0000-000000000000}"/>
          </ac:spMkLst>
        </pc:spChg>
        <pc:graphicFrameChg chg="mod modGraphic">
          <ac:chgData name="Tami Corson" userId="17b03132-2f21-4edf-a2df-f25c30f43233" providerId="ADAL" clId="{DE91C734-911C-4AEA-859B-D1325E341CA2}" dt="2022-03-26T13:59:03.685" v="5557" actId="14100"/>
          <ac:graphicFrameMkLst>
            <pc:docMk/>
            <pc:sldMk cId="0" sldId="283"/>
            <ac:graphicFrameMk id="930" creationId="{00000000-0000-0000-0000-000000000000}"/>
          </ac:graphicFrameMkLst>
        </pc:graphicFrameChg>
      </pc:sldChg>
      <pc:sldChg chg="addSp modSp mod">
        <pc:chgData name="Tami Corson" userId="17b03132-2f21-4edf-a2df-f25c30f43233" providerId="ADAL" clId="{DE91C734-911C-4AEA-859B-D1325E341CA2}" dt="2022-04-05T17:15:33.287" v="12838" actId="1076"/>
        <pc:sldMkLst>
          <pc:docMk/>
          <pc:sldMk cId="3210015788" sldId="303"/>
        </pc:sldMkLst>
        <pc:spChg chg="mod">
          <ac:chgData name="Tami Corson" userId="17b03132-2f21-4edf-a2df-f25c30f43233" providerId="ADAL" clId="{DE91C734-911C-4AEA-859B-D1325E341CA2}" dt="2022-03-26T13:53:07.253" v="5085" actId="6549"/>
          <ac:spMkLst>
            <pc:docMk/>
            <pc:sldMk cId="3210015788" sldId="303"/>
            <ac:spMk id="7" creationId="{BE7F7455-B913-4524-B9A1-CFE51EA4FDC0}"/>
          </ac:spMkLst>
        </pc:spChg>
        <pc:spChg chg="mod">
          <ac:chgData name="Tami Corson" userId="17b03132-2f21-4edf-a2df-f25c30f43233" providerId="ADAL" clId="{DE91C734-911C-4AEA-859B-D1325E341CA2}" dt="2022-03-26T13:55:56.338" v="5464" actId="20577"/>
          <ac:spMkLst>
            <pc:docMk/>
            <pc:sldMk cId="3210015788" sldId="303"/>
            <ac:spMk id="8" creationId="{A19485DD-AF7A-4DC6-9406-74037D209156}"/>
          </ac:spMkLst>
        </pc:spChg>
        <pc:spChg chg="add mod">
          <ac:chgData name="Tami Corson" userId="17b03132-2f21-4edf-a2df-f25c30f43233" providerId="ADAL" clId="{DE91C734-911C-4AEA-859B-D1325E341CA2}" dt="2022-03-26T14:02:43.752" v="5629" actId="20577"/>
          <ac:spMkLst>
            <pc:docMk/>
            <pc:sldMk cId="3210015788" sldId="303"/>
            <ac:spMk id="25" creationId="{33379683-EB1F-4B6F-948D-4D47193E44D8}"/>
          </ac:spMkLst>
        </pc:spChg>
        <pc:spChg chg="mod">
          <ac:chgData name="Tami Corson" userId="17b03132-2f21-4edf-a2df-f25c30f43233" providerId="ADAL" clId="{DE91C734-911C-4AEA-859B-D1325E341CA2}" dt="2022-04-05T17:15:08.643" v="12833" actId="6549"/>
          <ac:spMkLst>
            <pc:docMk/>
            <pc:sldMk cId="3210015788" sldId="303"/>
            <ac:spMk id="29" creationId="{9EDE1D44-C442-44A3-A246-C666D0FC9506}"/>
          </ac:spMkLst>
        </pc:spChg>
        <pc:spChg chg="mod">
          <ac:chgData name="Tami Corson" userId="17b03132-2f21-4edf-a2df-f25c30f43233" providerId="ADAL" clId="{DE91C734-911C-4AEA-859B-D1325E341CA2}" dt="2022-04-05T17:15:33.287" v="12838" actId="1076"/>
          <ac:spMkLst>
            <pc:docMk/>
            <pc:sldMk cId="3210015788" sldId="303"/>
            <ac:spMk id="30" creationId="{F5E6A857-939B-428F-8E38-79E7432F9239}"/>
          </ac:spMkLst>
        </pc:spChg>
        <pc:spChg chg="mod">
          <ac:chgData name="Tami Corson" userId="17b03132-2f21-4edf-a2df-f25c30f43233" providerId="ADAL" clId="{DE91C734-911C-4AEA-859B-D1325E341CA2}" dt="2022-03-26T13:55:52.441" v="5462" actId="20577"/>
          <ac:spMkLst>
            <pc:docMk/>
            <pc:sldMk cId="3210015788" sldId="303"/>
            <ac:spMk id="471" creationId="{00000000-0000-0000-0000-000000000000}"/>
          </ac:spMkLst>
        </pc:spChg>
        <pc:spChg chg="mod">
          <ac:chgData name="Tami Corson" userId="17b03132-2f21-4edf-a2df-f25c30f43233" providerId="ADAL" clId="{DE91C734-911C-4AEA-859B-D1325E341CA2}" dt="2022-04-05T17:14:04.823" v="12821" actId="20577"/>
          <ac:spMkLst>
            <pc:docMk/>
            <pc:sldMk cId="3210015788" sldId="303"/>
            <ac:spMk id="482" creationId="{00000000-0000-0000-0000-000000000000}"/>
          </ac:spMkLst>
        </pc:spChg>
        <pc:grpChg chg="mod">
          <ac:chgData name="Tami Corson" userId="17b03132-2f21-4edf-a2df-f25c30f43233" providerId="ADAL" clId="{DE91C734-911C-4AEA-859B-D1325E341CA2}" dt="2022-04-05T17:15:23.859" v="12836" actId="1076"/>
          <ac:grpSpMkLst>
            <pc:docMk/>
            <pc:sldMk cId="3210015788" sldId="303"/>
            <ac:grpSpMk id="5" creationId="{B4748D22-10CC-4855-AD20-21CA97C1DB4C}"/>
          </ac:grpSpMkLst>
        </pc:grpChg>
        <pc:graphicFrameChg chg="modGraphic">
          <ac:chgData name="Tami Corson" userId="17b03132-2f21-4edf-a2df-f25c30f43233" providerId="ADAL" clId="{DE91C734-911C-4AEA-859B-D1325E341CA2}" dt="2022-03-26T13:54:03.900" v="5162" actId="20577"/>
          <ac:graphicFrameMkLst>
            <pc:docMk/>
            <pc:sldMk cId="3210015788" sldId="303"/>
            <ac:graphicFrameMk id="488" creationId="{00000000-0000-0000-0000-000000000000}"/>
          </ac:graphicFrameMkLst>
        </pc:graphicFrameChg>
        <pc:cxnChg chg="mod">
          <ac:chgData name="Tami Corson" userId="17b03132-2f21-4edf-a2df-f25c30f43233" providerId="ADAL" clId="{DE91C734-911C-4AEA-859B-D1325E341CA2}" dt="2022-04-05T17:15:13.701" v="12834" actId="1076"/>
          <ac:cxnSpMkLst>
            <pc:docMk/>
            <pc:sldMk cId="3210015788" sldId="303"/>
            <ac:cxnSpMk id="486" creationId="{00000000-0000-0000-0000-000000000000}"/>
          </ac:cxnSpMkLst>
        </pc:cxnChg>
        <pc:cxnChg chg="mod">
          <ac:chgData name="Tami Corson" userId="17b03132-2f21-4edf-a2df-f25c30f43233" providerId="ADAL" clId="{DE91C734-911C-4AEA-859B-D1325E341CA2}" dt="2022-04-05T17:15:29.967" v="12837" actId="1076"/>
          <ac:cxnSpMkLst>
            <pc:docMk/>
            <pc:sldMk cId="3210015788" sldId="303"/>
            <ac:cxnSpMk id="487" creationId="{00000000-0000-0000-0000-000000000000}"/>
          </ac:cxnSpMkLst>
        </pc:cxnChg>
      </pc:sldChg>
      <pc:sldChg chg="addSp delSp modSp mod">
        <pc:chgData name="Tami Corson" userId="17b03132-2f21-4edf-a2df-f25c30f43233" providerId="ADAL" clId="{DE91C734-911C-4AEA-859B-D1325E341CA2}" dt="2022-04-05T16:51:47.632" v="12499" actId="478"/>
        <pc:sldMkLst>
          <pc:docMk/>
          <pc:sldMk cId="1756389301" sldId="323"/>
        </pc:sldMkLst>
        <pc:spChg chg="del mod">
          <ac:chgData name="Tami Corson" userId="17b03132-2f21-4edf-a2df-f25c30f43233" providerId="ADAL" clId="{DE91C734-911C-4AEA-859B-D1325E341CA2}" dt="2022-04-05T16:51:47.632" v="12499" actId="478"/>
          <ac:spMkLst>
            <pc:docMk/>
            <pc:sldMk cId="1756389301" sldId="323"/>
            <ac:spMk id="4" creationId="{BF92DADF-CA80-4220-B99B-6FEB90716CCD}"/>
          </ac:spMkLst>
        </pc:spChg>
        <pc:spChg chg="add del mod">
          <ac:chgData name="Tami Corson" userId="17b03132-2f21-4edf-a2df-f25c30f43233" providerId="ADAL" clId="{DE91C734-911C-4AEA-859B-D1325E341CA2}" dt="2022-04-05T13:23:49.726" v="11739" actId="478"/>
          <ac:spMkLst>
            <pc:docMk/>
            <pc:sldMk cId="1756389301" sldId="323"/>
            <ac:spMk id="6" creationId="{32BC3E67-B227-4B69-9623-026BE4649DFB}"/>
          </ac:spMkLst>
        </pc:spChg>
        <pc:spChg chg="mod">
          <ac:chgData name="Tami Corson" userId="17b03132-2f21-4edf-a2df-f25c30f43233" providerId="ADAL" clId="{DE91C734-911C-4AEA-859B-D1325E341CA2}" dt="2022-03-26T13:30:18.424" v="2858" actId="6549"/>
          <ac:spMkLst>
            <pc:docMk/>
            <pc:sldMk cId="1756389301" sldId="323"/>
            <ac:spMk id="7" creationId="{5EDFEF76-4A9B-4615-A291-9A3C8D686D4A}"/>
          </ac:spMkLst>
        </pc:spChg>
        <pc:spChg chg="mod">
          <ac:chgData name="Tami Corson" userId="17b03132-2f21-4edf-a2df-f25c30f43233" providerId="ADAL" clId="{DE91C734-911C-4AEA-859B-D1325E341CA2}" dt="2022-04-05T14:16:47.741" v="12106" actId="6549"/>
          <ac:spMkLst>
            <pc:docMk/>
            <pc:sldMk cId="1756389301" sldId="323"/>
            <ac:spMk id="14" creationId="{D5AFD166-FDA5-49D0-9503-A4D355EE3E78}"/>
          </ac:spMkLst>
        </pc:spChg>
        <pc:spChg chg="mod">
          <ac:chgData name="Tami Corson" userId="17b03132-2f21-4edf-a2df-f25c30f43233" providerId="ADAL" clId="{DE91C734-911C-4AEA-859B-D1325E341CA2}" dt="2022-04-05T13:24:58.486" v="11749" actId="1076"/>
          <ac:spMkLst>
            <pc:docMk/>
            <pc:sldMk cId="1756389301" sldId="323"/>
            <ac:spMk id="15" creationId="{9C4A17CE-EF6F-4ED7-ADC1-9CEE9825B750}"/>
          </ac:spMkLst>
        </pc:spChg>
        <pc:spChg chg="add mod">
          <ac:chgData name="Tami Corson" userId="17b03132-2f21-4edf-a2df-f25c30f43233" providerId="ADAL" clId="{DE91C734-911C-4AEA-859B-D1325E341CA2}" dt="2022-03-26T13:45:03.748" v="4673"/>
          <ac:spMkLst>
            <pc:docMk/>
            <pc:sldMk cId="1756389301" sldId="323"/>
            <ac:spMk id="16" creationId="{8F0CA37A-B6EB-4A17-9D52-2FBB285889D0}"/>
          </ac:spMkLst>
        </pc:spChg>
        <pc:spChg chg="add mod">
          <ac:chgData name="Tami Corson" userId="17b03132-2f21-4edf-a2df-f25c30f43233" providerId="ADAL" clId="{DE91C734-911C-4AEA-859B-D1325E341CA2}" dt="2022-03-31T18:45:50.813" v="9541" actId="20577"/>
          <ac:spMkLst>
            <pc:docMk/>
            <pc:sldMk cId="1756389301" sldId="323"/>
            <ac:spMk id="17" creationId="{740FA3E6-F331-4E37-B121-EE2C3B7FFACC}"/>
          </ac:spMkLst>
        </pc:spChg>
        <pc:spChg chg="add del mod">
          <ac:chgData name="Tami Corson" userId="17b03132-2f21-4edf-a2df-f25c30f43233" providerId="ADAL" clId="{DE91C734-911C-4AEA-859B-D1325E341CA2}" dt="2022-04-05T13:24:50.793" v="11748" actId="478"/>
          <ac:spMkLst>
            <pc:docMk/>
            <pc:sldMk cId="1756389301" sldId="323"/>
            <ac:spMk id="17" creationId="{F3FA3658-0EF8-48C6-B4E1-5101D2A3E836}"/>
          </ac:spMkLst>
        </pc:spChg>
        <pc:spChg chg="mod">
          <ac:chgData name="Tami Corson" userId="17b03132-2f21-4edf-a2df-f25c30f43233" providerId="ADAL" clId="{DE91C734-911C-4AEA-859B-D1325E341CA2}" dt="2022-03-31T18:46:30.347" v="9556" actId="14100"/>
          <ac:spMkLst>
            <pc:docMk/>
            <pc:sldMk cId="1756389301" sldId="323"/>
            <ac:spMk id="651" creationId="{00000000-0000-0000-0000-000000000000}"/>
          </ac:spMkLst>
        </pc:spChg>
        <pc:picChg chg="del">
          <ac:chgData name="Tami Corson" userId="17b03132-2f21-4edf-a2df-f25c30f43233" providerId="ADAL" clId="{DE91C734-911C-4AEA-859B-D1325E341CA2}" dt="2022-03-26T13:29:53.477" v="2790" actId="478"/>
          <ac:picMkLst>
            <pc:docMk/>
            <pc:sldMk cId="1756389301" sldId="323"/>
            <ac:picMk id="2" creationId="{06FB615F-F8A3-43BA-A287-B8535775C676}"/>
          </ac:picMkLst>
        </pc:picChg>
        <pc:picChg chg="add mod modCrop">
          <ac:chgData name="Tami Corson" userId="17b03132-2f21-4edf-a2df-f25c30f43233" providerId="ADAL" clId="{DE91C734-911C-4AEA-859B-D1325E341CA2}" dt="2022-04-05T14:17:08.449" v="12108" actId="1076"/>
          <ac:picMkLst>
            <pc:docMk/>
            <pc:sldMk cId="1756389301" sldId="323"/>
            <ac:picMk id="8" creationId="{785988DC-4B70-4B83-AFED-79E89CF52FB3}"/>
          </ac:picMkLst>
        </pc:picChg>
        <pc:picChg chg="add mod modCrop">
          <ac:chgData name="Tami Corson" userId="17b03132-2f21-4edf-a2df-f25c30f43233" providerId="ADAL" clId="{DE91C734-911C-4AEA-859B-D1325E341CA2}" dt="2022-04-05T14:17:58.572" v="12114" actId="732"/>
          <ac:picMkLst>
            <pc:docMk/>
            <pc:sldMk cId="1756389301" sldId="323"/>
            <ac:picMk id="10" creationId="{37E5AC81-5941-4702-87D9-892EEDC46324}"/>
          </ac:picMkLst>
        </pc:picChg>
      </pc:sldChg>
      <pc:sldChg chg="modSp del mod">
        <pc:chgData name="Tami Corson" userId="17b03132-2f21-4edf-a2df-f25c30f43233" providerId="ADAL" clId="{DE91C734-911C-4AEA-859B-D1325E341CA2}" dt="2022-03-26T13:50:28.736" v="4969" actId="47"/>
        <pc:sldMkLst>
          <pc:docMk/>
          <pc:sldMk cId="1295029711" sldId="333"/>
        </pc:sldMkLst>
        <pc:graphicFrameChg chg="mod modGraphic">
          <ac:chgData name="Tami Corson" userId="17b03132-2f21-4edf-a2df-f25c30f43233" providerId="ADAL" clId="{DE91C734-911C-4AEA-859B-D1325E341CA2}" dt="2022-03-26T13:47:03.313" v="4724" actId="6549"/>
          <ac:graphicFrameMkLst>
            <pc:docMk/>
            <pc:sldMk cId="1295029711" sldId="333"/>
            <ac:graphicFrameMk id="694" creationId="{00000000-0000-0000-0000-000000000000}"/>
          </ac:graphicFrameMkLst>
        </pc:graphicFrameChg>
      </pc:sldChg>
      <pc:sldChg chg="del">
        <pc:chgData name="Tami Corson" userId="17b03132-2f21-4edf-a2df-f25c30f43233" providerId="ADAL" clId="{DE91C734-911C-4AEA-859B-D1325E341CA2}" dt="2022-03-26T13:50:29.874" v="4970" actId="47"/>
        <pc:sldMkLst>
          <pc:docMk/>
          <pc:sldMk cId="130301299" sldId="334"/>
        </pc:sldMkLst>
      </pc:sldChg>
      <pc:sldChg chg="addSp delSp modSp mod">
        <pc:chgData name="Tami Corson" userId="17b03132-2f21-4edf-a2df-f25c30f43233" providerId="ADAL" clId="{DE91C734-911C-4AEA-859B-D1325E341CA2}" dt="2022-04-05T17:09:43.242" v="12802" actId="1076"/>
        <pc:sldMkLst>
          <pc:docMk/>
          <pc:sldMk cId="3720673345" sldId="336"/>
        </pc:sldMkLst>
        <pc:spChg chg="add del mod">
          <ac:chgData name="Tami Corson" userId="17b03132-2f21-4edf-a2df-f25c30f43233" providerId="ADAL" clId="{DE91C734-911C-4AEA-859B-D1325E341CA2}" dt="2022-04-05T17:09:39.725" v="12801" actId="478"/>
          <ac:spMkLst>
            <pc:docMk/>
            <pc:sldMk cId="3720673345" sldId="336"/>
            <ac:spMk id="2" creationId="{6C172565-63B1-4E2C-9215-A68168DD0AED}"/>
          </ac:spMkLst>
        </pc:spChg>
        <pc:spChg chg="add mod">
          <ac:chgData name="Tami Corson" userId="17b03132-2f21-4edf-a2df-f25c30f43233" providerId="ADAL" clId="{DE91C734-911C-4AEA-859B-D1325E341CA2}" dt="2022-03-31T18:45:21.610" v="9523" actId="20577"/>
          <ac:spMkLst>
            <pc:docMk/>
            <pc:sldMk cId="3720673345" sldId="336"/>
            <ac:spMk id="2" creationId="{8590B0AD-CF71-4028-AE61-68B4F1150A4F}"/>
          </ac:spMkLst>
        </pc:spChg>
        <pc:spChg chg="mod">
          <ac:chgData name="Tami Corson" userId="17b03132-2f21-4edf-a2df-f25c30f43233" providerId="ADAL" clId="{DE91C734-911C-4AEA-859B-D1325E341CA2}" dt="2022-04-05T17:09:43.242" v="12802" actId="1076"/>
          <ac:spMkLst>
            <pc:docMk/>
            <pc:sldMk cId="3720673345" sldId="336"/>
            <ac:spMk id="5" creationId="{F9234196-FD9F-0245-3D15-9CAC8C82146D}"/>
          </ac:spMkLst>
        </pc:spChg>
        <pc:spChg chg="mod">
          <ac:chgData name="Tami Corson" userId="17b03132-2f21-4edf-a2df-f25c30f43233" providerId="ADAL" clId="{DE91C734-911C-4AEA-859B-D1325E341CA2}" dt="2022-03-26T13:19:44.024" v="646" actId="20577"/>
          <ac:spMkLst>
            <pc:docMk/>
            <pc:sldMk cId="3720673345" sldId="336"/>
            <ac:spMk id="11" creationId="{B8747EB6-5160-4889-A9E1-0A810192FC7B}"/>
          </ac:spMkLst>
        </pc:spChg>
        <pc:spChg chg="add mod">
          <ac:chgData name="Tami Corson" userId="17b03132-2f21-4edf-a2df-f25c30f43233" providerId="ADAL" clId="{DE91C734-911C-4AEA-859B-D1325E341CA2}" dt="2022-03-30T23:00:51.159" v="8384" actId="20577"/>
          <ac:spMkLst>
            <pc:docMk/>
            <pc:sldMk cId="3720673345" sldId="336"/>
            <ac:spMk id="12" creationId="{2A18C4E8-C461-494D-81E4-7EB6C08B7B32}"/>
          </ac:spMkLst>
        </pc:spChg>
        <pc:spChg chg="mod">
          <ac:chgData name="Tami Corson" userId="17b03132-2f21-4edf-a2df-f25c30f43233" providerId="ADAL" clId="{DE91C734-911C-4AEA-859B-D1325E341CA2}" dt="2022-03-29T23:15:56.002" v="6377" actId="14100"/>
          <ac:spMkLst>
            <pc:docMk/>
            <pc:sldMk cId="3720673345" sldId="336"/>
            <ac:spMk id="616" creationId="{00000000-0000-0000-0000-000000000000}"/>
          </ac:spMkLst>
        </pc:spChg>
        <pc:spChg chg="del mod">
          <ac:chgData name="Tami Corson" userId="17b03132-2f21-4edf-a2df-f25c30f43233" providerId="ADAL" clId="{DE91C734-911C-4AEA-859B-D1325E341CA2}" dt="2022-03-29T23:16:23.319" v="6378" actId="478"/>
          <ac:spMkLst>
            <pc:docMk/>
            <pc:sldMk cId="3720673345" sldId="336"/>
            <ac:spMk id="620" creationId="{00000000-0000-0000-0000-000000000000}"/>
          </ac:spMkLst>
        </pc:spChg>
        <pc:picChg chg="mod">
          <ac:chgData name="Tami Corson" userId="17b03132-2f21-4edf-a2df-f25c30f43233" providerId="ADAL" clId="{DE91C734-911C-4AEA-859B-D1325E341CA2}" dt="2022-04-04T17:44:31.469" v="11137" actId="1076"/>
          <ac:picMkLst>
            <pc:docMk/>
            <pc:sldMk cId="3720673345" sldId="336"/>
            <ac:picMk id="3" creationId="{B724F98D-FF1B-BCB1-E2C4-E208C15BF35F}"/>
          </ac:picMkLst>
        </pc:picChg>
        <pc:picChg chg="mod">
          <ac:chgData name="Tami Corson" userId="17b03132-2f21-4edf-a2df-f25c30f43233" providerId="ADAL" clId="{DE91C734-911C-4AEA-859B-D1325E341CA2}" dt="2022-04-04T17:44:01.808" v="11133" actId="1076"/>
          <ac:picMkLst>
            <pc:docMk/>
            <pc:sldMk cId="3720673345" sldId="336"/>
            <ac:picMk id="4" creationId="{09CA8A60-BBAA-9446-D21F-66F43DA127B3}"/>
          </ac:picMkLst>
        </pc:picChg>
        <pc:picChg chg="del">
          <ac:chgData name="Tami Corson" userId="17b03132-2f21-4edf-a2df-f25c30f43233" providerId="ADAL" clId="{DE91C734-911C-4AEA-859B-D1325E341CA2}" dt="2022-03-26T13:19:24.185" v="638" actId="478"/>
          <ac:picMkLst>
            <pc:docMk/>
            <pc:sldMk cId="3720673345" sldId="336"/>
            <ac:picMk id="4" creationId="{8D3C64D2-1D2C-40BE-9360-7D7368CC172E}"/>
          </ac:picMkLst>
        </pc:picChg>
        <pc:picChg chg="mod">
          <ac:chgData name="Tami Corson" userId="17b03132-2f21-4edf-a2df-f25c30f43233" providerId="ADAL" clId="{DE91C734-911C-4AEA-859B-D1325E341CA2}" dt="2022-04-04T17:44:24.563" v="11136" actId="1076"/>
          <ac:picMkLst>
            <pc:docMk/>
            <pc:sldMk cId="3720673345" sldId="336"/>
            <ac:picMk id="6" creationId="{C960AA0D-8A45-1E16-84E3-8E85DDC162F3}"/>
          </ac:picMkLst>
        </pc:picChg>
      </pc:sldChg>
      <pc:sldChg chg="addSp delSp modSp mod">
        <pc:chgData name="Tami Corson" userId="17b03132-2f21-4edf-a2df-f25c30f43233" providerId="ADAL" clId="{DE91C734-911C-4AEA-859B-D1325E341CA2}" dt="2022-04-05T17:16:34.191" v="12845" actId="2"/>
        <pc:sldMkLst>
          <pc:docMk/>
          <pc:sldMk cId="1209993513" sldId="338"/>
        </pc:sldMkLst>
        <pc:spChg chg="mod">
          <ac:chgData name="Tami Corson" userId="17b03132-2f21-4edf-a2df-f25c30f43233" providerId="ADAL" clId="{DE91C734-911C-4AEA-859B-D1325E341CA2}" dt="2022-03-26T13:21:48.268" v="1036" actId="20577"/>
          <ac:spMkLst>
            <pc:docMk/>
            <pc:sldMk cId="1209993513" sldId="338"/>
            <ac:spMk id="3" creationId="{AC311647-2B4D-4E6C-81D1-9F8580567C0E}"/>
          </ac:spMkLst>
        </pc:spChg>
        <pc:spChg chg="add mod">
          <ac:chgData name="Tami Corson" userId="17b03132-2f21-4edf-a2df-f25c30f43233" providerId="ADAL" clId="{DE91C734-911C-4AEA-859B-D1325E341CA2}" dt="2022-03-30T01:17:00.060" v="6760" actId="20577"/>
          <ac:spMkLst>
            <pc:docMk/>
            <pc:sldMk cId="1209993513" sldId="338"/>
            <ac:spMk id="13" creationId="{7CB40364-C6DD-4E16-B46E-08A1E44306A9}"/>
          </ac:spMkLst>
        </pc:spChg>
        <pc:spChg chg="mod">
          <ac:chgData name="Tami Corson" userId="17b03132-2f21-4edf-a2df-f25c30f43233" providerId="ADAL" clId="{DE91C734-911C-4AEA-859B-D1325E341CA2}" dt="2022-04-05T17:16:34.191" v="12845" actId="2"/>
          <ac:spMkLst>
            <pc:docMk/>
            <pc:sldMk cId="1209993513" sldId="338"/>
            <ac:spMk id="16" creationId="{F29BBF2D-5F15-45EC-BE2A-14ABF1E18DB5}"/>
          </ac:spMkLst>
        </pc:spChg>
        <pc:spChg chg="mod">
          <ac:chgData name="Tami Corson" userId="17b03132-2f21-4edf-a2df-f25c30f43233" providerId="ADAL" clId="{DE91C734-911C-4AEA-859B-D1325E341CA2}" dt="2022-03-30T01:15:21.535" v="6718" actId="6549"/>
          <ac:spMkLst>
            <pc:docMk/>
            <pc:sldMk cId="1209993513" sldId="338"/>
            <ac:spMk id="601" creationId="{00000000-0000-0000-0000-000000000000}"/>
          </ac:spMkLst>
        </pc:spChg>
        <pc:spChg chg="mod">
          <ac:chgData name="Tami Corson" userId="17b03132-2f21-4edf-a2df-f25c30f43233" providerId="ADAL" clId="{DE91C734-911C-4AEA-859B-D1325E341CA2}" dt="2022-03-30T23:03:51.900" v="8444" actId="14100"/>
          <ac:spMkLst>
            <pc:docMk/>
            <pc:sldMk cId="1209993513" sldId="338"/>
            <ac:spMk id="605" creationId="{00000000-0000-0000-0000-000000000000}"/>
          </ac:spMkLst>
        </pc:spChg>
        <pc:spChg chg="mod">
          <ac:chgData name="Tami Corson" userId="17b03132-2f21-4edf-a2df-f25c30f43233" providerId="ADAL" clId="{DE91C734-911C-4AEA-859B-D1325E341CA2}" dt="2022-04-05T14:12:59.776" v="12056" actId="20577"/>
          <ac:spMkLst>
            <pc:docMk/>
            <pc:sldMk cId="1209993513" sldId="338"/>
            <ac:spMk id="609" creationId="{00000000-0000-0000-0000-000000000000}"/>
          </ac:spMkLst>
        </pc:spChg>
        <pc:picChg chg="del">
          <ac:chgData name="Tami Corson" userId="17b03132-2f21-4edf-a2df-f25c30f43233" providerId="ADAL" clId="{DE91C734-911C-4AEA-859B-D1325E341CA2}" dt="2022-03-26T13:21:27.615" v="1014" actId="478"/>
          <ac:picMkLst>
            <pc:docMk/>
            <pc:sldMk cId="1209993513" sldId="338"/>
            <ac:picMk id="7" creationId="{E167ADDA-3304-42B9-9524-97BE6D27840F}"/>
          </ac:picMkLst>
        </pc:picChg>
        <pc:picChg chg="del">
          <ac:chgData name="Tami Corson" userId="17b03132-2f21-4edf-a2df-f25c30f43233" providerId="ADAL" clId="{DE91C734-911C-4AEA-859B-D1325E341CA2}" dt="2022-03-26T13:21:23.567" v="1012" actId="478"/>
          <ac:picMkLst>
            <pc:docMk/>
            <pc:sldMk cId="1209993513" sldId="338"/>
            <ac:picMk id="8" creationId="{A7F49EF5-7FD2-4E24-8DC7-5A70F582CFE8}"/>
          </ac:picMkLst>
        </pc:picChg>
        <pc:picChg chg="del">
          <ac:chgData name="Tami Corson" userId="17b03132-2f21-4edf-a2df-f25c30f43233" providerId="ADAL" clId="{DE91C734-911C-4AEA-859B-D1325E341CA2}" dt="2022-03-26T13:21:25.682" v="1013" actId="478"/>
          <ac:picMkLst>
            <pc:docMk/>
            <pc:sldMk cId="1209993513" sldId="338"/>
            <ac:picMk id="9" creationId="{9237B7FB-437B-4F8D-8925-192D1CF2D458}"/>
          </ac:picMkLst>
        </pc:picChg>
        <pc:picChg chg="del">
          <ac:chgData name="Tami Corson" userId="17b03132-2f21-4edf-a2df-f25c30f43233" providerId="ADAL" clId="{DE91C734-911C-4AEA-859B-D1325E341CA2}" dt="2022-03-26T13:21:21.811" v="1011" actId="478"/>
          <ac:picMkLst>
            <pc:docMk/>
            <pc:sldMk cId="1209993513" sldId="338"/>
            <ac:picMk id="11" creationId="{7884BA36-C9C9-41F8-AF4A-AC1388B7BC31}"/>
          </ac:picMkLst>
        </pc:picChg>
      </pc:sldChg>
      <pc:sldChg chg="addSp delSp modSp mod">
        <pc:chgData name="Tami Corson" userId="17b03132-2f21-4edf-a2df-f25c30f43233" providerId="ADAL" clId="{DE91C734-911C-4AEA-859B-D1325E341CA2}" dt="2022-04-05T15:31:48.976" v="12398" actId="1076"/>
        <pc:sldMkLst>
          <pc:docMk/>
          <pc:sldMk cId="2486721525" sldId="341"/>
        </pc:sldMkLst>
        <pc:spChg chg="mod">
          <ac:chgData name="Tami Corson" userId="17b03132-2f21-4edf-a2df-f25c30f43233" providerId="ADAL" clId="{DE91C734-911C-4AEA-859B-D1325E341CA2}" dt="2022-03-26T13:51:48.405" v="5000" actId="20577"/>
          <ac:spMkLst>
            <pc:docMk/>
            <pc:sldMk cId="2486721525" sldId="341"/>
            <ac:spMk id="94" creationId="{E31314A6-B11D-4476-9803-2FB49A1BD625}"/>
          </ac:spMkLst>
        </pc:spChg>
        <pc:spChg chg="add mod">
          <ac:chgData name="Tami Corson" userId="17b03132-2f21-4edf-a2df-f25c30f43233" providerId="ADAL" clId="{DE91C734-911C-4AEA-859B-D1325E341CA2}" dt="2022-03-26T14:03:02.062" v="5632" actId="1035"/>
          <ac:spMkLst>
            <pc:docMk/>
            <pc:sldMk cId="2486721525" sldId="341"/>
            <ac:spMk id="100" creationId="{523D7184-991A-457B-AD7E-9585D81AD188}"/>
          </ac:spMkLst>
        </pc:spChg>
        <pc:spChg chg="mod">
          <ac:chgData name="Tami Corson" userId="17b03132-2f21-4edf-a2df-f25c30f43233" providerId="ADAL" clId="{DE91C734-911C-4AEA-859B-D1325E341CA2}" dt="2022-04-05T15:30:28.097" v="12390" actId="14100"/>
          <ac:spMkLst>
            <pc:docMk/>
            <pc:sldMk cId="2486721525" sldId="341"/>
            <ac:spMk id="101" creationId="{C490854A-3705-D3C2-CB0B-CA528B8E7892}"/>
          </ac:spMkLst>
        </pc:spChg>
        <pc:spChg chg="mod">
          <ac:chgData name="Tami Corson" userId="17b03132-2f21-4edf-a2df-f25c30f43233" providerId="ADAL" clId="{DE91C734-911C-4AEA-859B-D1325E341CA2}" dt="2022-04-05T15:30:41.198" v="12392" actId="20577"/>
          <ac:spMkLst>
            <pc:docMk/>
            <pc:sldMk cId="2486721525" sldId="341"/>
            <ac:spMk id="102" creationId="{1A6A5D54-4780-E7F1-2C5A-B261190E065C}"/>
          </ac:spMkLst>
        </pc:spChg>
        <pc:spChg chg="mod">
          <ac:chgData name="Tami Corson" userId="17b03132-2f21-4edf-a2df-f25c30f43233" providerId="ADAL" clId="{DE91C734-911C-4AEA-859B-D1325E341CA2}" dt="2022-03-26T13:51:33.873" v="4997" actId="1076"/>
          <ac:spMkLst>
            <pc:docMk/>
            <pc:sldMk cId="2486721525" sldId="341"/>
            <ac:spMk id="343" creationId="{00000000-0000-0000-0000-000000000000}"/>
          </ac:spMkLst>
        </pc:spChg>
        <pc:spChg chg="mod">
          <ac:chgData name="Tami Corson" userId="17b03132-2f21-4edf-a2df-f25c30f43233" providerId="ADAL" clId="{DE91C734-911C-4AEA-859B-D1325E341CA2}" dt="2022-03-26T13:52:29.354" v="5034" actId="20577"/>
          <ac:spMkLst>
            <pc:docMk/>
            <pc:sldMk cId="2486721525" sldId="341"/>
            <ac:spMk id="344" creationId="{00000000-0000-0000-0000-000000000000}"/>
          </ac:spMkLst>
        </pc:spChg>
        <pc:spChg chg="mod">
          <ac:chgData name="Tami Corson" userId="17b03132-2f21-4edf-a2df-f25c30f43233" providerId="ADAL" clId="{DE91C734-911C-4AEA-859B-D1325E341CA2}" dt="2022-04-04T17:07:16.807" v="10842" actId="1076"/>
          <ac:spMkLst>
            <pc:docMk/>
            <pc:sldMk cId="2486721525" sldId="341"/>
            <ac:spMk id="416" creationId="{00000000-0000-0000-0000-000000000000}"/>
          </ac:spMkLst>
        </pc:spChg>
        <pc:spChg chg="mod">
          <ac:chgData name="Tami Corson" userId="17b03132-2f21-4edf-a2df-f25c30f43233" providerId="ADAL" clId="{DE91C734-911C-4AEA-859B-D1325E341CA2}" dt="2022-04-04T17:08:14.339" v="10843" actId="1076"/>
          <ac:spMkLst>
            <pc:docMk/>
            <pc:sldMk cId="2486721525" sldId="341"/>
            <ac:spMk id="417" creationId="{00000000-0000-0000-0000-000000000000}"/>
          </ac:spMkLst>
        </pc:spChg>
        <pc:spChg chg="mod">
          <ac:chgData name="Tami Corson" userId="17b03132-2f21-4edf-a2df-f25c30f43233" providerId="ADAL" clId="{DE91C734-911C-4AEA-859B-D1325E341CA2}" dt="2022-04-04T17:06:56.361" v="10840" actId="1076"/>
          <ac:spMkLst>
            <pc:docMk/>
            <pc:sldMk cId="2486721525" sldId="341"/>
            <ac:spMk id="436" creationId="{00000000-0000-0000-0000-000000000000}"/>
          </ac:spMkLst>
        </pc:spChg>
        <pc:spChg chg="mod">
          <ac:chgData name="Tami Corson" userId="17b03132-2f21-4edf-a2df-f25c30f43233" providerId="ADAL" clId="{DE91C734-911C-4AEA-859B-D1325E341CA2}" dt="2022-04-04T17:07:07.436" v="10841" actId="1076"/>
          <ac:spMkLst>
            <pc:docMk/>
            <pc:sldMk cId="2486721525" sldId="341"/>
            <ac:spMk id="441" creationId="{00000000-0000-0000-0000-000000000000}"/>
          </ac:spMkLst>
        </pc:spChg>
        <pc:spChg chg="mod">
          <ac:chgData name="Tami Corson" userId="17b03132-2f21-4edf-a2df-f25c30f43233" providerId="ADAL" clId="{DE91C734-911C-4AEA-859B-D1325E341CA2}" dt="2022-04-04T17:09:30.641" v="10853" actId="1076"/>
          <ac:spMkLst>
            <pc:docMk/>
            <pc:sldMk cId="2486721525" sldId="341"/>
            <ac:spMk id="446" creationId="{00000000-0000-0000-0000-000000000000}"/>
          </ac:spMkLst>
        </pc:spChg>
        <pc:spChg chg="mod">
          <ac:chgData name="Tami Corson" userId="17b03132-2f21-4edf-a2df-f25c30f43233" providerId="ADAL" clId="{DE91C734-911C-4AEA-859B-D1325E341CA2}" dt="2022-04-04T17:09:41.450" v="10854" actId="1076"/>
          <ac:spMkLst>
            <pc:docMk/>
            <pc:sldMk cId="2486721525" sldId="341"/>
            <ac:spMk id="447" creationId="{00000000-0000-0000-0000-000000000000}"/>
          </ac:spMkLst>
        </pc:spChg>
        <pc:grpChg chg="mod">
          <ac:chgData name="Tami Corson" userId="17b03132-2f21-4edf-a2df-f25c30f43233" providerId="ADAL" clId="{DE91C734-911C-4AEA-859B-D1325E341CA2}" dt="2022-03-26T13:51:41.352" v="4998" actId="1076"/>
          <ac:grpSpMkLst>
            <pc:docMk/>
            <pc:sldMk cId="2486721525" sldId="341"/>
            <ac:grpSpMk id="3" creationId="{04B4B9EF-39BF-81F3-070D-703E1C6BC8C8}"/>
          </ac:grpSpMkLst>
        </pc:grpChg>
        <pc:cxnChg chg="mod">
          <ac:chgData name="Tami Corson" userId="17b03132-2f21-4edf-a2df-f25c30f43233" providerId="ADAL" clId="{DE91C734-911C-4AEA-859B-D1325E341CA2}" dt="2022-03-26T13:51:24.065" v="4996" actId="1076"/>
          <ac:cxnSpMkLst>
            <pc:docMk/>
            <pc:sldMk cId="2486721525" sldId="341"/>
            <ac:cxnSpMk id="119" creationId="{BE5967B3-C8EE-4DCD-9A67-1ED6C8099880}"/>
          </ac:cxnSpMkLst>
        </pc:cxnChg>
        <pc:cxnChg chg="mod">
          <ac:chgData name="Tami Corson" userId="17b03132-2f21-4edf-a2df-f25c30f43233" providerId="ADAL" clId="{DE91C734-911C-4AEA-859B-D1325E341CA2}" dt="2022-04-05T15:31:48.976" v="12398" actId="1076"/>
          <ac:cxnSpMkLst>
            <pc:docMk/>
            <pc:sldMk cId="2486721525" sldId="341"/>
            <ac:cxnSpMk id="120" creationId="{55FA9FF7-4455-4B47-9023-FF6BDA918F8C}"/>
          </ac:cxnSpMkLst>
        </pc:cxnChg>
        <pc:cxnChg chg="mod">
          <ac:chgData name="Tami Corson" userId="17b03132-2f21-4edf-a2df-f25c30f43233" providerId="ADAL" clId="{DE91C734-911C-4AEA-859B-D1325E341CA2}" dt="2022-04-04T17:09:08.983" v="10851" actId="1076"/>
          <ac:cxnSpMkLst>
            <pc:docMk/>
            <pc:sldMk cId="2486721525" sldId="341"/>
            <ac:cxnSpMk id="138" creationId="{72CD5195-4FCE-4FC8-B037-A7E561D0D2AA}"/>
          </ac:cxnSpMkLst>
        </pc:cxnChg>
        <pc:cxnChg chg="del">
          <ac:chgData name="Tami Corson" userId="17b03132-2f21-4edf-a2df-f25c30f43233" providerId="ADAL" clId="{DE91C734-911C-4AEA-859B-D1325E341CA2}" dt="2022-04-05T15:31:16.167" v="12394" actId="478"/>
          <ac:cxnSpMkLst>
            <pc:docMk/>
            <pc:sldMk cId="2486721525" sldId="341"/>
            <ac:cxnSpMk id="423" creationId="{00000000-0000-0000-0000-000000000000}"/>
          </ac:cxnSpMkLst>
        </pc:cxnChg>
      </pc:sldChg>
      <pc:sldChg chg="addSp modSp mod">
        <pc:chgData name="Tami Corson" userId="17b03132-2f21-4edf-a2df-f25c30f43233" providerId="ADAL" clId="{DE91C734-911C-4AEA-859B-D1325E341CA2}" dt="2022-04-05T17:16:45.341" v="12848" actId="2"/>
        <pc:sldMkLst>
          <pc:docMk/>
          <pc:sldMk cId="4114424017" sldId="342"/>
        </pc:sldMkLst>
        <pc:spChg chg="mod">
          <ac:chgData name="Tami Corson" userId="17b03132-2f21-4edf-a2df-f25c30f43233" providerId="ADAL" clId="{DE91C734-911C-4AEA-859B-D1325E341CA2}" dt="2022-03-26T14:00:51.762" v="5608" actId="14100"/>
          <ac:spMkLst>
            <pc:docMk/>
            <pc:sldMk cId="4114424017" sldId="342"/>
            <ac:spMk id="2" creationId="{4D5921D8-9182-46DA-BF73-3160B3589AF0}"/>
          </ac:spMkLst>
        </pc:spChg>
        <pc:spChg chg="mod">
          <ac:chgData name="Tami Corson" userId="17b03132-2f21-4edf-a2df-f25c30f43233" providerId="ADAL" clId="{DE91C734-911C-4AEA-859B-D1325E341CA2}" dt="2022-03-26T13:56:27.260" v="5467" actId="20577"/>
          <ac:spMkLst>
            <pc:docMk/>
            <pc:sldMk cId="4114424017" sldId="342"/>
            <ac:spMk id="6" creationId="{27A3C5F9-CE7F-4416-9B0D-9A54A7CAF05D}"/>
          </ac:spMkLst>
        </pc:spChg>
        <pc:spChg chg="mod">
          <ac:chgData name="Tami Corson" userId="17b03132-2f21-4edf-a2df-f25c30f43233" providerId="ADAL" clId="{DE91C734-911C-4AEA-859B-D1325E341CA2}" dt="2022-03-26T13:56:38.038" v="5477" actId="6549"/>
          <ac:spMkLst>
            <pc:docMk/>
            <pc:sldMk cId="4114424017" sldId="342"/>
            <ac:spMk id="7" creationId="{3A459B18-D705-4DD6-8A98-83D381B62CE4}"/>
          </ac:spMkLst>
        </pc:spChg>
        <pc:spChg chg="add mod">
          <ac:chgData name="Tami Corson" userId="17b03132-2f21-4edf-a2df-f25c30f43233" providerId="ADAL" clId="{DE91C734-911C-4AEA-859B-D1325E341CA2}" dt="2022-03-26T14:00:58.060" v="5609"/>
          <ac:spMkLst>
            <pc:docMk/>
            <pc:sldMk cId="4114424017" sldId="342"/>
            <ac:spMk id="11" creationId="{32873532-4DAB-46C2-9B1C-F38B26BCDC39}"/>
          </ac:spMkLst>
        </pc:spChg>
        <pc:graphicFrameChg chg="mod modGraphic">
          <ac:chgData name="Tami Corson" userId="17b03132-2f21-4edf-a2df-f25c30f43233" providerId="ADAL" clId="{DE91C734-911C-4AEA-859B-D1325E341CA2}" dt="2022-04-05T17:16:45.341" v="12848" actId="2"/>
          <ac:graphicFrameMkLst>
            <pc:docMk/>
            <pc:sldMk cId="4114424017" sldId="342"/>
            <ac:graphicFrameMk id="23" creationId="{F4A84191-3BFB-48AA-A343-19DE4EA3891C}"/>
          </ac:graphicFrameMkLst>
        </pc:graphicFrameChg>
      </pc:sldChg>
      <pc:sldChg chg="addSp delSp modSp mod">
        <pc:chgData name="Tami Corson" userId="17b03132-2f21-4edf-a2df-f25c30f43233" providerId="ADAL" clId="{DE91C734-911C-4AEA-859B-D1325E341CA2}" dt="2022-03-31T18:46:59.054" v="9578" actId="20577"/>
        <pc:sldMkLst>
          <pc:docMk/>
          <pc:sldMk cId="211703589" sldId="343"/>
        </pc:sldMkLst>
        <pc:spChg chg="del">
          <ac:chgData name="Tami Corson" userId="17b03132-2f21-4edf-a2df-f25c30f43233" providerId="ADAL" clId="{DE91C734-911C-4AEA-859B-D1325E341CA2}" dt="2022-03-26T13:44:40.577" v="4672" actId="478"/>
          <ac:spMkLst>
            <pc:docMk/>
            <pc:sldMk cId="211703589" sldId="343"/>
            <ac:spMk id="6" creationId="{D1B67900-A55A-49E3-9F1F-6FA28D277895}"/>
          </ac:spMkLst>
        </pc:spChg>
        <pc:spChg chg="mod">
          <ac:chgData name="Tami Corson" userId="17b03132-2f21-4edf-a2df-f25c30f43233" providerId="ADAL" clId="{DE91C734-911C-4AEA-859B-D1325E341CA2}" dt="2022-03-26T13:45:46.003" v="4687" actId="20577"/>
          <ac:spMkLst>
            <pc:docMk/>
            <pc:sldMk cId="211703589" sldId="343"/>
            <ac:spMk id="7" creationId="{C840A1AA-DEE9-4A69-BC08-B46800497F9A}"/>
          </ac:spMkLst>
        </pc:spChg>
        <pc:spChg chg="add del mod">
          <ac:chgData name="Tami Corson" userId="17b03132-2f21-4edf-a2df-f25c30f43233" providerId="ADAL" clId="{DE91C734-911C-4AEA-859B-D1325E341CA2}" dt="2022-03-26T13:45:27.288" v="4676" actId="478"/>
          <ac:spMkLst>
            <pc:docMk/>
            <pc:sldMk cId="211703589" sldId="343"/>
            <ac:spMk id="8" creationId="{D5BFB122-2333-479B-8DFB-15E95015289E}"/>
          </ac:spMkLst>
        </pc:spChg>
        <pc:spChg chg="add mod">
          <ac:chgData name="Tami Corson" userId="17b03132-2f21-4edf-a2df-f25c30f43233" providerId="ADAL" clId="{DE91C734-911C-4AEA-859B-D1325E341CA2}" dt="2022-03-26T13:45:29.326" v="4677"/>
          <ac:spMkLst>
            <pc:docMk/>
            <pc:sldMk cId="211703589" sldId="343"/>
            <ac:spMk id="15" creationId="{C4C62486-463F-4FC0-B499-CE49552602ED}"/>
          </ac:spMkLst>
        </pc:spChg>
        <pc:spChg chg="add mod">
          <ac:chgData name="Tami Corson" userId="17b03132-2f21-4edf-a2df-f25c30f43233" providerId="ADAL" clId="{DE91C734-911C-4AEA-859B-D1325E341CA2}" dt="2022-03-31T18:46:59.054" v="9578" actId="20577"/>
          <ac:spMkLst>
            <pc:docMk/>
            <pc:sldMk cId="211703589" sldId="343"/>
            <ac:spMk id="16" creationId="{F617743E-3F94-469A-92C2-0B08E1ECAF4E}"/>
          </ac:spMkLst>
        </pc:spChg>
        <pc:spChg chg="mod">
          <ac:chgData name="Tami Corson" userId="17b03132-2f21-4edf-a2df-f25c30f43233" providerId="ADAL" clId="{DE91C734-911C-4AEA-859B-D1325E341CA2}" dt="2022-03-31T18:18:19.438" v="9011" actId="20577"/>
          <ac:spMkLst>
            <pc:docMk/>
            <pc:sldMk cId="211703589" sldId="343"/>
            <ac:spMk id="572" creationId="{00000000-0000-0000-0000-000000000000}"/>
          </ac:spMkLst>
        </pc:spChg>
        <pc:spChg chg="mod">
          <ac:chgData name="Tami Corson" userId="17b03132-2f21-4edf-a2df-f25c30f43233" providerId="ADAL" clId="{DE91C734-911C-4AEA-859B-D1325E341CA2}" dt="2022-03-26T13:45:59.114" v="4705" actId="6549"/>
          <ac:spMkLst>
            <pc:docMk/>
            <pc:sldMk cId="211703589" sldId="343"/>
            <ac:spMk id="575" creationId="{00000000-0000-0000-0000-000000000000}"/>
          </ac:spMkLst>
        </pc:spChg>
        <pc:spChg chg="mod">
          <ac:chgData name="Tami Corson" userId="17b03132-2f21-4edf-a2df-f25c30f43233" providerId="ADAL" clId="{DE91C734-911C-4AEA-859B-D1325E341CA2}" dt="2022-03-31T18:18:38.281" v="9017" actId="20577"/>
          <ac:spMkLst>
            <pc:docMk/>
            <pc:sldMk cId="211703589" sldId="343"/>
            <ac:spMk id="579" creationId="{00000000-0000-0000-0000-000000000000}"/>
          </ac:spMkLst>
        </pc:spChg>
      </pc:sldChg>
      <pc:sldChg chg="delSp modSp del mod">
        <pc:chgData name="Tami Corson" userId="17b03132-2f21-4edf-a2df-f25c30f43233" providerId="ADAL" clId="{DE91C734-911C-4AEA-859B-D1325E341CA2}" dt="2022-03-30T02:07:07.081" v="8293" actId="47"/>
        <pc:sldMkLst>
          <pc:docMk/>
          <pc:sldMk cId="1639760722" sldId="344"/>
        </pc:sldMkLst>
        <pc:spChg chg="mod">
          <ac:chgData name="Tami Corson" userId="17b03132-2f21-4edf-a2df-f25c30f43233" providerId="ADAL" clId="{DE91C734-911C-4AEA-859B-D1325E341CA2}" dt="2022-03-26T13:25:55.423" v="1837" actId="20577"/>
          <ac:spMkLst>
            <pc:docMk/>
            <pc:sldMk cId="1639760722" sldId="344"/>
            <ac:spMk id="3" creationId="{AC311647-2B4D-4E6C-81D1-9F8580567C0E}"/>
          </ac:spMkLst>
        </pc:spChg>
        <pc:spChg chg="del">
          <ac:chgData name="Tami Corson" userId="17b03132-2f21-4edf-a2df-f25c30f43233" providerId="ADAL" clId="{DE91C734-911C-4AEA-859B-D1325E341CA2}" dt="2022-03-26T13:25:32.636" v="1778" actId="478"/>
          <ac:spMkLst>
            <pc:docMk/>
            <pc:sldMk cId="1639760722" sldId="344"/>
            <ac:spMk id="15" creationId="{E539B02A-95E4-440D-9E22-F138643D2C89}"/>
          </ac:spMkLst>
        </pc:spChg>
        <pc:spChg chg="del">
          <ac:chgData name="Tami Corson" userId="17b03132-2f21-4edf-a2df-f25c30f43233" providerId="ADAL" clId="{DE91C734-911C-4AEA-859B-D1325E341CA2}" dt="2022-03-26T13:25:29.584" v="1777" actId="478"/>
          <ac:spMkLst>
            <pc:docMk/>
            <pc:sldMk cId="1639760722" sldId="344"/>
            <ac:spMk id="16" creationId="{F29BBF2D-5F15-45EC-BE2A-14ABF1E18DB5}"/>
          </ac:spMkLst>
        </pc:spChg>
        <pc:spChg chg="mod">
          <ac:chgData name="Tami Corson" userId="17b03132-2f21-4edf-a2df-f25c30f43233" providerId="ADAL" clId="{DE91C734-911C-4AEA-859B-D1325E341CA2}" dt="2022-03-26T13:24:44.838" v="1625" actId="20577"/>
          <ac:spMkLst>
            <pc:docMk/>
            <pc:sldMk cId="1639760722" sldId="344"/>
            <ac:spMk id="601" creationId="{00000000-0000-0000-0000-000000000000}"/>
          </ac:spMkLst>
        </pc:spChg>
        <pc:spChg chg="mod">
          <ac:chgData name="Tami Corson" userId="17b03132-2f21-4edf-a2df-f25c30f43233" providerId="ADAL" clId="{DE91C734-911C-4AEA-859B-D1325E341CA2}" dt="2022-03-26T13:25:25.545" v="1776" actId="6549"/>
          <ac:spMkLst>
            <pc:docMk/>
            <pc:sldMk cId="1639760722" sldId="344"/>
            <ac:spMk id="605" creationId="{00000000-0000-0000-0000-000000000000}"/>
          </ac:spMkLst>
        </pc:spChg>
        <pc:spChg chg="mod">
          <ac:chgData name="Tami Corson" userId="17b03132-2f21-4edf-a2df-f25c30f43233" providerId="ADAL" clId="{DE91C734-911C-4AEA-859B-D1325E341CA2}" dt="2022-03-26T13:25:43.658" v="1825" actId="20577"/>
          <ac:spMkLst>
            <pc:docMk/>
            <pc:sldMk cId="1639760722" sldId="344"/>
            <ac:spMk id="609" creationId="{00000000-0000-0000-0000-000000000000}"/>
          </ac:spMkLst>
        </pc:spChg>
      </pc:sldChg>
      <pc:sldChg chg="delSp modSp del mod">
        <pc:chgData name="Tami Corson" userId="17b03132-2f21-4edf-a2df-f25c30f43233" providerId="ADAL" clId="{DE91C734-911C-4AEA-859B-D1325E341CA2}" dt="2022-03-30T02:07:10.167" v="8294" actId="47"/>
        <pc:sldMkLst>
          <pc:docMk/>
          <pc:sldMk cId="2963563579" sldId="348"/>
        </pc:sldMkLst>
        <pc:spChg chg="mod">
          <ac:chgData name="Tami Corson" userId="17b03132-2f21-4edf-a2df-f25c30f43233" providerId="ADAL" clId="{DE91C734-911C-4AEA-859B-D1325E341CA2}" dt="2022-03-26T13:28:28.987" v="2607" actId="20577"/>
          <ac:spMkLst>
            <pc:docMk/>
            <pc:sldMk cId="2963563579" sldId="348"/>
            <ac:spMk id="3" creationId="{AC311647-2B4D-4E6C-81D1-9F8580567C0E}"/>
          </ac:spMkLst>
        </pc:spChg>
        <pc:spChg chg="del mod">
          <ac:chgData name="Tami Corson" userId="17b03132-2f21-4edf-a2df-f25c30f43233" providerId="ADAL" clId="{DE91C734-911C-4AEA-859B-D1325E341CA2}" dt="2022-03-26T13:28:52.583" v="2625" actId="478"/>
          <ac:spMkLst>
            <pc:docMk/>
            <pc:sldMk cId="2963563579" sldId="348"/>
            <ac:spMk id="4" creationId="{7E99DE7C-9F18-B33F-8154-9FB35F971E34}"/>
          </ac:spMkLst>
        </pc:spChg>
        <pc:spChg chg="mod">
          <ac:chgData name="Tami Corson" userId="17b03132-2f21-4edf-a2df-f25c30f43233" providerId="ADAL" clId="{DE91C734-911C-4AEA-859B-D1325E341CA2}" dt="2022-03-26T13:28:17.181" v="2597" actId="20577"/>
          <ac:spMkLst>
            <pc:docMk/>
            <pc:sldMk cId="2963563579" sldId="348"/>
            <ac:spMk id="8" creationId="{63314686-1D13-4553-B700-6ED15E618005}"/>
          </ac:spMkLst>
        </pc:spChg>
        <pc:spChg chg="mod">
          <ac:chgData name="Tami Corson" userId="17b03132-2f21-4edf-a2df-f25c30f43233" providerId="ADAL" clId="{DE91C734-911C-4AEA-859B-D1325E341CA2}" dt="2022-03-26T13:26:59.414" v="2104" actId="20577"/>
          <ac:spMkLst>
            <pc:docMk/>
            <pc:sldMk cId="2963563579" sldId="348"/>
            <ac:spMk id="14" creationId="{314EDFE2-8825-44A8-A59E-C5A6A5FD2E50}"/>
          </ac:spMkLst>
        </pc:spChg>
        <pc:spChg chg="del">
          <ac:chgData name="Tami Corson" userId="17b03132-2f21-4edf-a2df-f25c30f43233" providerId="ADAL" clId="{DE91C734-911C-4AEA-859B-D1325E341CA2}" dt="2022-03-26T13:28:58.724" v="2626" actId="478"/>
          <ac:spMkLst>
            <pc:docMk/>
            <pc:sldMk cId="2963563579" sldId="348"/>
            <ac:spMk id="16" creationId="{F6466A26-FAF8-4506-3FF0-3EF6BF3C065A}"/>
          </ac:spMkLst>
        </pc:spChg>
        <pc:spChg chg="mod">
          <ac:chgData name="Tami Corson" userId="17b03132-2f21-4edf-a2df-f25c30f43233" providerId="ADAL" clId="{DE91C734-911C-4AEA-859B-D1325E341CA2}" dt="2022-03-26T13:26:43.463" v="2041" actId="20577"/>
          <ac:spMkLst>
            <pc:docMk/>
            <pc:sldMk cId="2963563579" sldId="348"/>
            <ac:spMk id="601" creationId="{00000000-0000-0000-0000-000000000000}"/>
          </ac:spMkLst>
        </pc:spChg>
        <pc:spChg chg="mod">
          <ac:chgData name="Tami Corson" userId="17b03132-2f21-4edf-a2df-f25c30f43233" providerId="ADAL" clId="{DE91C734-911C-4AEA-859B-D1325E341CA2}" dt="2022-03-26T13:28:39.311" v="2621" actId="20577"/>
          <ac:spMkLst>
            <pc:docMk/>
            <pc:sldMk cId="2963563579" sldId="348"/>
            <ac:spMk id="609" creationId="{00000000-0000-0000-0000-000000000000}"/>
          </ac:spMkLst>
        </pc:spChg>
        <pc:picChg chg="del">
          <ac:chgData name="Tami Corson" userId="17b03132-2f21-4edf-a2df-f25c30f43233" providerId="ADAL" clId="{DE91C734-911C-4AEA-859B-D1325E341CA2}" dt="2022-03-26T13:28:43.228" v="2623" actId="478"/>
          <ac:picMkLst>
            <pc:docMk/>
            <pc:sldMk cId="2963563579" sldId="348"/>
            <ac:picMk id="5" creationId="{0EC0F891-55BF-4D55-8E8B-B53DA8C4E767}"/>
          </ac:picMkLst>
        </pc:picChg>
        <pc:picChg chg="del">
          <ac:chgData name="Tami Corson" userId="17b03132-2f21-4edf-a2df-f25c30f43233" providerId="ADAL" clId="{DE91C734-911C-4AEA-859B-D1325E341CA2}" dt="2022-03-26T13:28:41.272" v="2622" actId="478"/>
          <ac:picMkLst>
            <pc:docMk/>
            <pc:sldMk cId="2963563579" sldId="348"/>
            <ac:picMk id="6" creationId="{EDE8B35B-47B6-4765-BFAE-21B063BC34CB}"/>
          </ac:picMkLst>
        </pc:picChg>
      </pc:sldChg>
      <pc:sldChg chg="addSp modSp mod">
        <pc:chgData name="Tami Corson" userId="17b03132-2f21-4edf-a2df-f25c30f43233" providerId="ADAL" clId="{DE91C734-911C-4AEA-859B-D1325E341CA2}" dt="2022-03-26T14:00:30.037" v="5605" actId="1035"/>
        <pc:sldMkLst>
          <pc:docMk/>
          <pc:sldMk cId="754587697" sldId="352"/>
        </pc:sldMkLst>
        <pc:spChg chg="mod">
          <ac:chgData name="Tami Corson" userId="17b03132-2f21-4edf-a2df-f25c30f43233" providerId="ADAL" clId="{DE91C734-911C-4AEA-859B-D1325E341CA2}" dt="2022-03-26T13:57:03.999" v="5491" actId="20577"/>
          <ac:spMkLst>
            <pc:docMk/>
            <pc:sldMk cId="754587697" sldId="352"/>
            <ac:spMk id="6" creationId="{7A9BD76F-FB1E-49C3-878D-3DEF96872E9C}"/>
          </ac:spMkLst>
        </pc:spChg>
        <pc:spChg chg="mod">
          <ac:chgData name="Tami Corson" userId="17b03132-2f21-4edf-a2df-f25c30f43233" providerId="ADAL" clId="{DE91C734-911C-4AEA-859B-D1325E341CA2}" dt="2022-03-26T13:56:58.826" v="5489" actId="6549"/>
          <ac:spMkLst>
            <pc:docMk/>
            <pc:sldMk cId="754587697" sldId="352"/>
            <ac:spMk id="7" creationId="{EA31C852-83D3-4FF2-B517-4CB677394908}"/>
          </ac:spMkLst>
        </pc:spChg>
        <pc:spChg chg="add mod">
          <ac:chgData name="Tami Corson" userId="17b03132-2f21-4edf-a2df-f25c30f43233" providerId="ADAL" clId="{DE91C734-911C-4AEA-859B-D1325E341CA2}" dt="2022-03-26T14:00:30.037" v="5605" actId="1035"/>
          <ac:spMkLst>
            <pc:docMk/>
            <pc:sldMk cId="754587697" sldId="352"/>
            <ac:spMk id="8" creationId="{8F69E7F7-DBB9-40B0-9935-C325CC79771F}"/>
          </ac:spMkLst>
        </pc:spChg>
      </pc:sldChg>
      <pc:sldChg chg="addSp modSp mod ord">
        <pc:chgData name="Tami Corson" userId="17b03132-2f21-4edf-a2df-f25c30f43233" providerId="ADAL" clId="{DE91C734-911C-4AEA-859B-D1325E341CA2}" dt="2022-03-30T02:07:36.954" v="8297"/>
        <pc:sldMkLst>
          <pc:docMk/>
          <pc:sldMk cId="2527603155" sldId="353"/>
        </pc:sldMkLst>
        <pc:spChg chg="mod">
          <ac:chgData name="Tami Corson" userId="17b03132-2f21-4edf-a2df-f25c30f43233" providerId="ADAL" clId="{DE91C734-911C-4AEA-859B-D1325E341CA2}" dt="2022-03-26T13:34:25.928" v="3489" actId="20577"/>
          <ac:spMkLst>
            <pc:docMk/>
            <pc:sldMk cId="2527603155" sldId="353"/>
            <ac:spMk id="2" creationId="{608E690F-8CF2-4ABB-BEF4-B86D373DAFAD}"/>
          </ac:spMkLst>
        </pc:spChg>
        <pc:spChg chg="mod">
          <ac:chgData name="Tami Corson" userId="17b03132-2f21-4edf-a2df-f25c30f43233" providerId="ADAL" clId="{DE91C734-911C-4AEA-859B-D1325E341CA2}" dt="2022-03-26T13:34:43.658" v="3540" actId="20577"/>
          <ac:spMkLst>
            <pc:docMk/>
            <pc:sldMk cId="2527603155" sldId="353"/>
            <ac:spMk id="5" creationId="{55559F1F-251F-4635-8A0D-08A7ADA07273}"/>
          </ac:spMkLst>
        </pc:spChg>
        <pc:spChg chg="mod">
          <ac:chgData name="Tami Corson" userId="17b03132-2f21-4edf-a2df-f25c30f43233" providerId="ADAL" clId="{DE91C734-911C-4AEA-859B-D1325E341CA2}" dt="2022-03-26T13:43:32.324" v="4512" actId="20577"/>
          <ac:spMkLst>
            <pc:docMk/>
            <pc:sldMk cId="2527603155" sldId="353"/>
            <ac:spMk id="6" creationId="{381230BA-653D-44CE-9AC8-F83E1E142ED2}"/>
          </ac:spMkLst>
        </pc:spChg>
        <pc:spChg chg="mod">
          <ac:chgData name="Tami Corson" userId="17b03132-2f21-4edf-a2df-f25c30f43233" providerId="ADAL" clId="{DE91C734-911C-4AEA-859B-D1325E341CA2}" dt="2022-03-26T13:43:14.903" v="4472" actId="6549"/>
          <ac:spMkLst>
            <pc:docMk/>
            <pc:sldMk cId="2527603155" sldId="353"/>
            <ac:spMk id="7" creationId="{5CC2109E-2E2D-46CC-B856-A39FE7E1BE02}"/>
          </ac:spMkLst>
        </pc:spChg>
        <pc:spChg chg="mod">
          <ac:chgData name="Tami Corson" userId="17b03132-2f21-4edf-a2df-f25c30f43233" providerId="ADAL" clId="{DE91C734-911C-4AEA-859B-D1325E341CA2}" dt="2022-03-26T13:43:24.252" v="4489" actId="20577"/>
          <ac:spMkLst>
            <pc:docMk/>
            <pc:sldMk cId="2527603155" sldId="353"/>
            <ac:spMk id="8" creationId="{B1EC9CE1-2695-4B56-ABB2-82D9F7DD622C}"/>
          </ac:spMkLst>
        </pc:spChg>
        <pc:spChg chg="mod">
          <ac:chgData name="Tami Corson" userId="17b03132-2f21-4edf-a2df-f25c30f43233" providerId="ADAL" clId="{DE91C734-911C-4AEA-859B-D1325E341CA2}" dt="2022-03-26T13:41:51.731" v="3835" actId="20577"/>
          <ac:spMkLst>
            <pc:docMk/>
            <pc:sldMk cId="2527603155" sldId="353"/>
            <ac:spMk id="9" creationId="{45C04764-F269-4F64-9737-7683A5D0C3C8}"/>
          </ac:spMkLst>
        </pc:spChg>
        <pc:spChg chg="mod">
          <ac:chgData name="Tami Corson" userId="17b03132-2f21-4edf-a2df-f25c30f43233" providerId="ADAL" clId="{DE91C734-911C-4AEA-859B-D1325E341CA2}" dt="2022-03-26T13:43:07.592" v="4448" actId="6549"/>
          <ac:spMkLst>
            <pc:docMk/>
            <pc:sldMk cId="2527603155" sldId="353"/>
            <ac:spMk id="15" creationId="{1F301F17-C695-479F-8C1E-0A4D7A9FF58B}"/>
          </ac:spMkLst>
        </pc:spChg>
        <pc:spChg chg="mod">
          <ac:chgData name="Tami Corson" userId="17b03132-2f21-4edf-a2df-f25c30f43233" providerId="ADAL" clId="{DE91C734-911C-4AEA-859B-D1325E341CA2}" dt="2022-03-26T13:42:34.706" v="4132" actId="6549"/>
          <ac:spMkLst>
            <pc:docMk/>
            <pc:sldMk cId="2527603155" sldId="353"/>
            <ac:spMk id="17" creationId="{1D0F6373-7FF4-F64B-A9FB-FA5D91D110D1}"/>
          </ac:spMkLst>
        </pc:spChg>
        <pc:spChg chg="add mod">
          <ac:chgData name="Tami Corson" userId="17b03132-2f21-4edf-a2df-f25c30f43233" providerId="ADAL" clId="{DE91C734-911C-4AEA-859B-D1325E341CA2}" dt="2022-03-26T13:34:56.678" v="3541"/>
          <ac:spMkLst>
            <pc:docMk/>
            <pc:sldMk cId="2527603155" sldId="353"/>
            <ac:spMk id="18" creationId="{59DC203A-4330-4BED-90A1-291AF3AE5B09}"/>
          </ac:spMkLst>
        </pc:spChg>
        <pc:spChg chg="mod">
          <ac:chgData name="Tami Corson" userId="17b03132-2f21-4edf-a2df-f25c30f43233" providerId="ADAL" clId="{DE91C734-911C-4AEA-859B-D1325E341CA2}" dt="2022-03-26T13:34:10.602" v="3433" actId="20577"/>
          <ac:spMkLst>
            <pc:docMk/>
            <pc:sldMk cId="2527603155" sldId="353"/>
            <ac:spMk id="22" creationId="{5B0F76B3-C679-463B-BB8B-C3595E84DD74}"/>
          </ac:spMkLst>
        </pc:spChg>
      </pc:sldChg>
      <pc:sldChg chg="delSp modSp del mod">
        <pc:chgData name="Tami Corson" userId="17b03132-2f21-4edf-a2df-f25c30f43233" providerId="ADAL" clId="{DE91C734-911C-4AEA-859B-D1325E341CA2}" dt="2022-03-26T13:20:12.749" v="701" actId="47"/>
        <pc:sldMkLst>
          <pc:docMk/>
          <pc:sldMk cId="2060296423" sldId="355"/>
        </pc:sldMkLst>
        <pc:spChg chg="mod">
          <ac:chgData name="Tami Corson" userId="17b03132-2f21-4edf-a2df-f25c30f43233" providerId="ADAL" clId="{DE91C734-911C-4AEA-859B-D1325E341CA2}" dt="2022-03-26T13:20:02.349" v="699" actId="20577"/>
          <ac:spMkLst>
            <pc:docMk/>
            <pc:sldMk cId="2060296423" sldId="355"/>
            <ac:spMk id="2" creationId="{04EDEE64-E746-78F4-1324-7AF433DDB119}"/>
          </ac:spMkLst>
        </pc:spChg>
        <pc:picChg chg="del">
          <ac:chgData name="Tami Corson" userId="17b03132-2f21-4edf-a2df-f25c30f43233" providerId="ADAL" clId="{DE91C734-911C-4AEA-859B-D1325E341CA2}" dt="2022-03-26T13:20:08.065" v="700" actId="478"/>
          <ac:picMkLst>
            <pc:docMk/>
            <pc:sldMk cId="2060296423" sldId="355"/>
            <ac:picMk id="6" creationId="{E218F9C1-6B29-4CDC-805D-1F58BA675490}"/>
          </ac:picMkLst>
        </pc:picChg>
      </pc:sldChg>
      <pc:sldChg chg="delSp modSp del mod">
        <pc:chgData name="Tami Corson" userId="17b03132-2f21-4edf-a2df-f25c30f43233" providerId="ADAL" clId="{DE91C734-911C-4AEA-859B-D1325E341CA2}" dt="2022-03-26T13:26:23.034" v="1942" actId="47"/>
        <pc:sldMkLst>
          <pc:docMk/>
          <pc:sldMk cId="4017139295" sldId="356"/>
        </pc:sldMkLst>
        <pc:spChg chg="del">
          <ac:chgData name="Tami Corson" userId="17b03132-2f21-4edf-a2df-f25c30f43233" providerId="ADAL" clId="{DE91C734-911C-4AEA-859B-D1325E341CA2}" dt="2022-03-26T13:26:18.627" v="1941" actId="478"/>
          <ac:spMkLst>
            <pc:docMk/>
            <pc:sldMk cId="4017139295" sldId="356"/>
            <ac:spMk id="16" creationId="{F29BBF2D-5F15-45EC-BE2A-14ABF1E18DB5}"/>
          </ac:spMkLst>
        </pc:spChg>
        <pc:spChg chg="mod">
          <ac:chgData name="Tami Corson" userId="17b03132-2f21-4edf-a2df-f25c30f43233" providerId="ADAL" clId="{DE91C734-911C-4AEA-859B-D1325E341CA2}" dt="2022-03-26T13:26:14.339" v="1940" actId="20577"/>
          <ac:spMkLst>
            <pc:docMk/>
            <pc:sldMk cId="4017139295" sldId="356"/>
            <ac:spMk id="601" creationId="{00000000-0000-0000-0000-000000000000}"/>
          </ac:spMkLst>
        </pc:spChg>
      </pc:sldChg>
      <pc:sldChg chg="del">
        <pc:chgData name="Tami Corson" userId="17b03132-2f21-4edf-a2df-f25c30f43233" providerId="ADAL" clId="{DE91C734-911C-4AEA-859B-D1325E341CA2}" dt="2022-03-26T13:26:30.394" v="1943" actId="47"/>
        <pc:sldMkLst>
          <pc:docMk/>
          <pc:sldMk cId="73800528" sldId="357"/>
        </pc:sldMkLst>
      </pc:sldChg>
      <pc:sldChg chg="del">
        <pc:chgData name="Tami Corson" userId="17b03132-2f21-4edf-a2df-f25c30f43233" providerId="ADAL" clId="{DE91C734-911C-4AEA-859B-D1325E341CA2}" dt="2022-03-26T13:29:06.253" v="2627" actId="47"/>
        <pc:sldMkLst>
          <pc:docMk/>
          <pc:sldMk cId="2689461321" sldId="358"/>
        </pc:sldMkLst>
      </pc:sldChg>
      <pc:sldChg chg="del">
        <pc:chgData name="Tami Corson" userId="17b03132-2f21-4edf-a2df-f25c30f43233" providerId="ADAL" clId="{DE91C734-911C-4AEA-859B-D1325E341CA2}" dt="2022-03-26T13:29:07.934" v="2628" actId="47"/>
        <pc:sldMkLst>
          <pc:docMk/>
          <pc:sldMk cId="3608811986" sldId="360"/>
        </pc:sldMkLst>
      </pc:sldChg>
      <pc:sldChg chg="addSp delSp modSp add mod">
        <pc:chgData name="Tami Corson" userId="17b03132-2f21-4edf-a2df-f25c30f43233" providerId="ADAL" clId="{DE91C734-911C-4AEA-859B-D1325E341CA2}" dt="2022-03-26T13:11:56.625" v="119"/>
        <pc:sldMkLst>
          <pc:docMk/>
          <pc:sldMk cId="4065509054" sldId="361"/>
        </pc:sldMkLst>
        <pc:spChg chg="add del mod">
          <ac:chgData name="Tami Corson" userId="17b03132-2f21-4edf-a2df-f25c30f43233" providerId="ADAL" clId="{DE91C734-911C-4AEA-859B-D1325E341CA2}" dt="2022-03-26T13:10:27.907" v="95" actId="478"/>
          <ac:spMkLst>
            <pc:docMk/>
            <pc:sldMk cId="4065509054" sldId="361"/>
            <ac:spMk id="5" creationId="{BA701231-C42C-4738-BF59-3542648A1F47}"/>
          </ac:spMkLst>
        </pc:spChg>
        <pc:spChg chg="del mod">
          <ac:chgData name="Tami Corson" userId="17b03132-2f21-4edf-a2df-f25c30f43233" providerId="ADAL" clId="{DE91C734-911C-4AEA-859B-D1325E341CA2}" dt="2022-03-26T13:11:56.625" v="119"/>
          <ac:spMkLst>
            <pc:docMk/>
            <pc:sldMk cId="4065509054" sldId="361"/>
            <ac:spMk id="94" creationId="{E31314A6-B11D-4476-9803-2FB49A1BD625}"/>
          </ac:spMkLst>
        </pc:spChg>
        <pc:spChg chg="add mod">
          <ac:chgData name="Tami Corson" userId="17b03132-2f21-4edf-a2df-f25c30f43233" providerId="ADAL" clId="{DE91C734-911C-4AEA-859B-D1325E341CA2}" dt="2022-03-26T13:09:59.070" v="89"/>
          <ac:spMkLst>
            <pc:docMk/>
            <pc:sldMk cId="4065509054" sldId="361"/>
            <ac:spMk id="100" creationId="{E73B00D2-2AF6-4AE8-9C18-97BF7A438E41}"/>
          </ac:spMkLst>
        </pc:spChg>
        <pc:spChg chg="add mod">
          <ac:chgData name="Tami Corson" userId="17b03132-2f21-4edf-a2df-f25c30f43233" providerId="ADAL" clId="{DE91C734-911C-4AEA-859B-D1325E341CA2}" dt="2022-03-26T13:11:32.998" v="98"/>
          <ac:spMkLst>
            <pc:docMk/>
            <pc:sldMk cId="4065509054" sldId="361"/>
            <ac:spMk id="102" creationId="{AC7972F2-4583-4C30-91B4-8AD95B2DDD20}"/>
          </ac:spMkLst>
        </pc:spChg>
        <pc:spChg chg="add del">
          <ac:chgData name="Tami Corson" userId="17b03132-2f21-4edf-a2df-f25c30f43233" providerId="ADAL" clId="{DE91C734-911C-4AEA-859B-D1325E341CA2}" dt="2022-03-26T13:10:26.407" v="94" actId="478"/>
          <ac:spMkLst>
            <pc:docMk/>
            <pc:sldMk cId="4065509054" sldId="361"/>
            <ac:spMk id="344" creationId="{00000000-0000-0000-0000-000000000000}"/>
          </ac:spMkLst>
        </pc:spChg>
        <pc:spChg chg="mod">
          <ac:chgData name="Tami Corson" userId="17b03132-2f21-4edf-a2df-f25c30f43233" providerId="ADAL" clId="{DE91C734-911C-4AEA-859B-D1325E341CA2}" dt="2022-03-26T13:09:34.335" v="88" actId="14100"/>
          <ac:spMkLst>
            <pc:docMk/>
            <pc:sldMk cId="4065509054" sldId="361"/>
            <ac:spMk id="401" creationId="{00000000-0000-0000-0000-000000000000}"/>
          </ac:spMkLst>
        </pc:spChg>
        <pc:spChg chg="del">
          <ac:chgData name="Tami Corson" userId="17b03132-2f21-4edf-a2df-f25c30f43233" providerId="ADAL" clId="{DE91C734-911C-4AEA-859B-D1325E341CA2}" dt="2022-03-26T13:11:31.638" v="97" actId="478"/>
          <ac:spMkLst>
            <pc:docMk/>
            <pc:sldMk cId="4065509054" sldId="361"/>
            <ac:spMk id="453" creationId="{00000000-0000-0000-0000-000000000000}"/>
          </ac:spMkLst>
        </pc:spChg>
        <pc:grpChg chg="mod">
          <ac:chgData name="Tami Corson" userId="17b03132-2f21-4edf-a2df-f25c30f43233" providerId="ADAL" clId="{DE91C734-911C-4AEA-859B-D1325E341CA2}" dt="2022-03-26T13:10:59.328" v="96" actId="1076"/>
          <ac:grpSpMkLst>
            <pc:docMk/>
            <pc:sldMk cId="4065509054" sldId="361"/>
            <ac:grpSpMk id="3" creationId="{04B4B9EF-39BF-81F3-070D-703E1C6BC8C8}"/>
          </ac:grpSpMkLst>
        </pc:grpChg>
        <pc:cxnChg chg="mod">
          <ac:chgData name="Tami Corson" userId="17b03132-2f21-4edf-a2df-f25c30f43233" providerId="ADAL" clId="{DE91C734-911C-4AEA-859B-D1325E341CA2}" dt="2022-03-26T13:08:55.531" v="84" actId="1076"/>
          <ac:cxnSpMkLst>
            <pc:docMk/>
            <pc:sldMk cId="4065509054" sldId="361"/>
            <ac:cxnSpMk id="119" creationId="{BE5967B3-C8EE-4DCD-9A67-1ED6C8099880}"/>
          </ac:cxnSpMkLst>
        </pc:cxnChg>
      </pc:sldChg>
      <pc:sldChg chg="addSp delSp modSp add mod">
        <pc:chgData name="Tami Corson" userId="17b03132-2f21-4edf-a2df-f25c30f43233" providerId="ADAL" clId="{DE91C734-911C-4AEA-859B-D1325E341CA2}" dt="2022-03-26T13:13:17.834" v="130" actId="207"/>
        <pc:sldMkLst>
          <pc:docMk/>
          <pc:sldMk cId="2901620941" sldId="362"/>
        </pc:sldMkLst>
        <pc:spChg chg="add del mod">
          <ac:chgData name="Tami Corson" userId="17b03132-2f21-4edf-a2df-f25c30f43233" providerId="ADAL" clId="{DE91C734-911C-4AEA-859B-D1325E341CA2}" dt="2022-03-26T13:12:58.897" v="126" actId="478"/>
          <ac:spMkLst>
            <pc:docMk/>
            <pc:sldMk cId="2901620941" sldId="362"/>
            <ac:spMk id="3" creationId="{686DFACA-47C0-4142-BC74-1877F0C4C346}"/>
          </ac:spMkLst>
        </pc:spChg>
        <pc:spChg chg="add mod">
          <ac:chgData name="Tami Corson" userId="17b03132-2f21-4edf-a2df-f25c30f43233" providerId="ADAL" clId="{DE91C734-911C-4AEA-859B-D1325E341CA2}" dt="2022-03-26T13:13:02.934" v="128" actId="27636"/>
          <ac:spMkLst>
            <pc:docMk/>
            <pc:sldMk cId="2901620941" sldId="362"/>
            <ac:spMk id="5" creationId="{EF00F350-911D-4CEC-99F6-BFF3C2177F74}"/>
          </ac:spMkLst>
        </pc:spChg>
        <pc:spChg chg="add mod">
          <ac:chgData name="Tami Corson" userId="17b03132-2f21-4edf-a2df-f25c30f43233" providerId="ADAL" clId="{DE91C734-911C-4AEA-859B-D1325E341CA2}" dt="2022-03-26T13:13:17.834" v="130" actId="207"/>
          <ac:spMkLst>
            <pc:docMk/>
            <pc:sldMk cId="2901620941" sldId="362"/>
            <ac:spMk id="6" creationId="{EF0A4C45-A808-48D3-9F38-89F49AF512FF}"/>
          </ac:spMkLst>
        </pc:spChg>
        <pc:spChg chg="del">
          <ac:chgData name="Tami Corson" userId="17b03132-2f21-4edf-a2df-f25c30f43233" providerId="ADAL" clId="{DE91C734-911C-4AEA-859B-D1325E341CA2}" dt="2022-03-26T13:12:54.760" v="125" actId="478"/>
          <ac:spMkLst>
            <pc:docMk/>
            <pc:sldMk cId="2901620941" sldId="362"/>
            <ac:spMk id="851" creationId="{00000000-0000-0000-0000-000000000000}"/>
          </ac:spMkLst>
        </pc:spChg>
        <pc:spChg chg="del">
          <ac:chgData name="Tami Corson" userId="17b03132-2f21-4edf-a2df-f25c30f43233" providerId="ADAL" clId="{DE91C734-911C-4AEA-859B-D1325E341CA2}" dt="2022-03-26T13:13:02.922" v="127" actId="478"/>
          <ac:spMkLst>
            <pc:docMk/>
            <pc:sldMk cId="2901620941" sldId="362"/>
            <ac:spMk id="852" creationId="{00000000-0000-0000-0000-000000000000}"/>
          </ac:spMkLst>
        </pc:spChg>
      </pc:sldChg>
      <pc:sldChg chg="addSp delSp modSp mod">
        <pc:chgData name="Tami Corson" userId="17b03132-2f21-4edf-a2df-f25c30f43233" providerId="ADAL" clId="{DE91C734-911C-4AEA-859B-D1325E341CA2}" dt="2022-04-05T14:36:53.833" v="12370"/>
        <pc:sldMkLst>
          <pc:docMk/>
          <pc:sldMk cId="2576879601" sldId="365"/>
        </pc:sldMkLst>
        <pc:spChg chg="mod">
          <ac:chgData name="Tami Corson" userId="17b03132-2f21-4edf-a2df-f25c30f43233" providerId="ADAL" clId="{DE91C734-911C-4AEA-859B-D1325E341CA2}" dt="2022-04-05T14:09:43.695" v="12037" actId="1076"/>
          <ac:spMkLst>
            <pc:docMk/>
            <pc:sldMk cId="2576879601" sldId="365"/>
            <ac:spMk id="2" creationId="{AB52A157-2CB8-6DCB-8D3B-00713BF25DCA}"/>
          </ac:spMkLst>
        </pc:spChg>
        <pc:spChg chg="mod">
          <ac:chgData name="Tami Corson" userId="17b03132-2f21-4edf-a2df-f25c30f43233" providerId="ADAL" clId="{DE91C734-911C-4AEA-859B-D1325E341CA2}" dt="2022-04-05T14:09:34.869" v="12036"/>
          <ac:spMkLst>
            <pc:docMk/>
            <pc:sldMk cId="2576879601" sldId="365"/>
            <ac:spMk id="7" creationId="{417FAD84-EE07-46E5-9A94-99C8B80CFF74}"/>
          </ac:spMkLst>
        </pc:spChg>
        <pc:spChg chg="mod">
          <ac:chgData name="Tami Corson" userId="17b03132-2f21-4edf-a2df-f25c30f43233" providerId="ADAL" clId="{DE91C734-911C-4AEA-859B-D1325E341CA2}" dt="2022-04-05T14:09:34.869" v="12036"/>
          <ac:spMkLst>
            <pc:docMk/>
            <pc:sldMk cId="2576879601" sldId="365"/>
            <ac:spMk id="8" creationId="{070525DB-C227-4B2B-9F9B-79902086D8C2}"/>
          </ac:spMkLst>
        </pc:spChg>
        <pc:spChg chg="add del mod">
          <ac:chgData name="Tami Corson" userId="17b03132-2f21-4edf-a2df-f25c30f43233" providerId="ADAL" clId="{DE91C734-911C-4AEA-859B-D1325E341CA2}" dt="2022-04-05T14:36:52.743" v="12369" actId="478"/>
          <ac:spMkLst>
            <pc:docMk/>
            <pc:sldMk cId="2576879601" sldId="365"/>
            <ac:spMk id="11" creationId="{F33CCCFC-59CB-41F8-8273-8EAF0D5D79E8}"/>
          </ac:spMkLst>
        </pc:spChg>
        <pc:spChg chg="add mod">
          <ac:chgData name="Tami Corson" userId="17b03132-2f21-4edf-a2df-f25c30f43233" providerId="ADAL" clId="{DE91C734-911C-4AEA-859B-D1325E341CA2}" dt="2022-04-05T14:36:53.833" v="12370"/>
          <ac:spMkLst>
            <pc:docMk/>
            <pc:sldMk cId="2576879601" sldId="365"/>
            <ac:spMk id="12" creationId="{9FEA076C-4356-439E-8C68-31D207CCC669}"/>
          </ac:spMkLst>
        </pc:spChg>
        <pc:grpChg chg="add mod">
          <ac:chgData name="Tami Corson" userId="17b03132-2f21-4edf-a2df-f25c30f43233" providerId="ADAL" clId="{DE91C734-911C-4AEA-859B-D1325E341CA2}" dt="2022-04-05T14:09:34.869" v="12036"/>
          <ac:grpSpMkLst>
            <pc:docMk/>
            <pc:sldMk cId="2576879601" sldId="365"/>
            <ac:grpSpMk id="6" creationId="{CDA401A3-B5D9-4D8E-8713-1475FCB432D9}"/>
          </ac:grpSpMkLst>
        </pc:grpChg>
      </pc:sldChg>
      <pc:sldChg chg="addSp delSp modSp mod">
        <pc:chgData name="Tami Corson" userId="17b03132-2f21-4edf-a2df-f25c30f43233" providerId="ADAL" clId="{DE91C734-911C-4AEA-859B-D1325E341CA2}" dt="2022-04-05T14:36:42.119" v="12368" actId="6549"/>
        <pc:sldMkLst>
          <pc:docMk/>
          <pc:sldMk cId="1695560817" sldId="366"/>
        </pc:sldMkLst>
        <pc:spChg chg="mod">
          <ac:chgData name="Tami Corson" userId="17b03132-2f21-4edf-a2df-f25c30f43233" providerId="ADAL" clId="{DE91C734-911C-4AEA-859B-D1325E341CA2}" dt="2022-04-05T14:10:31.350" v="12043" actId="1076"/>
          <ac:spMkLst>
            <pc:docMk/>
            <pc:sldMk cId="1695560817" sldId="366"/>
            <ac:spMk id="2" creationId="{AB52A157-2CB8-6DCB-8D3B-00713BF25DCA}"/>
          </ac:spMkLst>
        </pc:spChg>
        <pc:spChg chg="mod">
          <ac:chgData name="Tami Corson" userId="17b03132-2f21-4edf-a2df-f25c30f43233" providerId="ADAL" clId="{DE91C734-911C-4AEA-859B-D1325E341CA2}" dt="2022-04-05T14:36:42.119" v="12368" actId="6549"/>
          <ac:spMkLst>
            <pc:docMk/>
            <pc:sldMk cId="1695560817" sldId="366"/>
            <ac:spMk id="5" creationId="{0BD814A1-8A3A-D6C7-A428-EFF601806E48}"/>
          </ac:spMkLst>
        </pc:spChg>
        <pc:spChg chg="mod">
          <ac:chgData name="Tami Corson" userId="17b03132-2f21-4edf-a2df-f25c30f43233" providerId="ADAL" clId="{DE91C734-911C-4AEA-859B-D1325E341CA2}" dt="2022-04-05T14:10:00.214" v="12038"/>
          <ac:spMkLst>
            <pc:docMk/>
            <pc:sldMk cId="1695560817" sldId="366"/>
            <ac:spMk id="65" creationId="{694B922C-2144-4F38-8B20-77A0EF95EB31}"/>
          </ac:spMkLst>
        </pc:spChg>
        <pc:spChg chg="mod">
          <ac:chgData name="Tami Corson" userId="17b03132-2f21-4edf-a2df-f25c30f43233" providerId="ADAL" clId="{DE91C734-911C-4AEA-859B-D1325E341CA2}" dt="2022-04-05T14:10:00.214" v="12038"/>
          <ac:spMkLst>
            <pc:docMk/>
            <pc:sldMk cId="1695560817" sldId="366"/>
            <ac:spMk id="66" creationId="{E4C97E3D-EE52-4E12-BAAB-2D35166DEBB0}"/>
          </ac:spMkLst>
        </pc:spChg>
        <pc:spChg chg="mod">
          <ac:chgData name="Tami Corson" userId="17b03132-2f21-4edf-a2df-f25c30f43233" providerId="ADAL" clId="{DE91C734-911C-4AEA-859B-D1325E341CA2}" dt="2022-04-05T14:11:00.871" v="12045"/>
          <ac:spMkLst>
            <pc:docMk/>
            <pc:sldMk cId="1695560817" sldId="366"/>
            <ac:spMk id="74" creationId="{482DAF0B-D17F-4704-93D6-BBBED6028787}"/>
          </ac:spMkLst>
        </pc:spChg>
        <pc:spChg chg="mod">
          <ac:chgData name="Tami Corson" userId="17b03132-2f21-4edf-a2df-f25c30f43233" providerId="ADAL" clId="{DE91C734-911C-4AEA-859B-D1325E341CA2}" dt="2022-04-05T14:11:00.871" v="12045"/>
          <ac:spMkLst>
            <pc:docMk/>
            <pc:sldMk cId="1695560817" sldId="366"/>
            <ac:spMk id="75" creationId="{E0F3108E-902E-4DB9-8D78-1D3F9D41BF6D}"/>
          </ac:spMkLst>
        </pc:spChg>
        <pc:spChg chg="mod">
          <ac:chgData name="Tami Corson" userId="17b03132-2f21-4edf-a2df-f25c30f43233" providerId="ADAL" clId="{DE91C734-911C-4AEA-859B-D1325E341CA2}" dt="2022-04-05T14:12:13.841" v="12051"/>
          <ac:spMkLst>
            <pc:docMk/>
            <pc:sldMk cId="1695560817" sldId="366"/>
            <ac:spMk id="77" creationId="{59AA964F-535A-41AE-BBDD-FB86C4B3BF5B}"/>
          </ac:spMkLst>
        </pc:spChg>
        <pc:spChg chg="mod">
          <ac:chgData name="Tami Corson" userId="17b03132-2f21-4edf-a2df-f25c30f43233" providerId="ADAL" clId="{DE91C734-911C-4AEA-859B-D1325E341CA2}" dt="2022-04-05T14:12:13.841" v="12051"/>
          <ac:spMkLst>
            <pc:docMk/>
            <pc:sldMk cId="1695560817" sldId="366"/>
            <ac:spMk id="79" creationId="{BDB6CD1D-98FC-4E44-8804-577B2AA4F1B1}"/>
          </ac:spMkLst>
        </pc:spChg>
        <pc:grpChg chg="add del mod">
          <ac:chgData name="Tami Corson" userId="17b03132-2f21-4edf-a2df-f25c30f43233" providerId="ADAL" clId="{DE91C734-911C-4AEA-859B-D1325E341CA2}" dt="2022-04-05T14:10:47.624" v="12044" actId="478"/>
          <ac:grpSpMkLst>
            <pc:docMk/>
            <pc:sldMk cId="1695560817" sldId="366"/>
            <ac:grpSpMk id="64" creationId="{3EB8A10B-EEB7-4F1C-9948-34B0F467AEAB}"/>
          </ac:grpSpMkLst>
        </pc:grpChg>
        <pc:grpChg chg="add del mod">
          <ac:chgData name="Tami Corson" userId="17b03132-2f21-4edf-a2df-f25c30f43233" providerId="ADAL" clId="{DE91C734-911C-4AEA-859B-D1325E341CA2}" dt="2022-04-05T14:12:06.178" v="12050" actId="478"/>
          <ac:grpSpMkLst>
            <pc:docMk/>
            <pc:sldMk cId="1695560817" sldId="366"/>
            <ac:grpSpMk id="73" creationId="{33873A3D-6758-4EE5-8AB7-54B3A359EEED}"/>
          </ac:grpSpMkLst>
        </pc:grpChg>
        <pc:grpChg chg="add mod">
          <ac:chgData name="Tami Corson" userId="17b03132-2f21-4edf-a2df-f25c30f43233" providerId="ADAL" clId="{DE91C734-911C-4AEA-859B-D1325E341CA2}" dt="2022-04-05T14:12:13.841" v="12051"/>
          <ac:grpSpMkLst>
            <pc:docMk/>
            <pc:sldMk cId="1695560817" sldId="366"/>
            <ac:grpSpMk id="76" creationId="{CA6CC004-F525-49CA-BCE7-099A9404F0F3}"/>
          </ac:grpSpMkLst>
        </pc:grpChg>
      </pc:sldChg>
      <pc:sldChg chg="addSp delSp modSp mod">
        <pc:chgData name="Tami Corson" userId="17b03132-2f21-4edf-a2df-f25c30f43233" providerId="ADAL" clId="{DE91C734-911C-4AEA-859B-D1325E341CA2}" dt="2022-04-05T17:17:34.376" v="12851" actId="2"/>
        <pc:sldMkLst>
          <pc:docMk/>
          <pc:sldMk cId="3762238417" sldId="367"/>
        </pc:sldMkLst>
        <pc:spChg chg="mod">
          <ac:chgData name="Tami Corson" userId="17b03132-2f21-4edf-a2df-f25c30f43233" providerId="ADAL" clId="{DE91C734-911C-4AEA-859B-D1325E341CA2}" dt="2022-03-30T23:15:09.374" v="8548" actId="1076"/>
          <ac:spMkLst>
            <pc:docMk/>
            <pc:sldMk cId="3762238417" sldId="367"/>
            <ac:spMk id="2" creationId="{AB52A157-2CB8-6DCB-8D3B-00713BF25DCA}"/>
          </ac:spMkLst>
        </pc:spChg>
        <pc:spChg chg="mod">
          <ac:chgData name="Tami Corson" userId="17b03132-2f21-4edf-a2df-f25c30f43233" providerId="ADAL" clId="{DE91C734-911C-4AEA-859B-D1325E341CA2}" dt="2022-04-05T17:17:29.009" v="12849" actId="313"/>
          <ac:spMkLst>
            <pc:docMk/>
            <pc:sldMk cId="3762238417" sldId="367"/>
            <ac:spMk id="3" creationId="{346B9D98-5C00-250F-2E85-76FD3A920D22}"/>
          </ac:spMkLst>
        </pc:spChg>
        <pc:spChg chg="add mod">
          <ac:chgData name="Tami Corson" userId="17b03132-2f21-4edf-a2df-f25c30f43233" providerId="ADAL" clId="{DE91C734-911C-4AEA-859B-D1325E341CA2}" dt="2022-04-05T17:17:34.376" v="12851" actId="2"/>
          <ac:spMkLst>
            <pc:docMk/>
            <pc:sldMk cId="3762238417" sldId="367"/>
            <ac:spMk id="5" creationId="{36D64229-262E-4A6E-9C18-00F422DCB439}"/>
          </ac:spMkLst>
        </pc:spChg>
        <pc:spChg chg="mod">
          <ac:chgData name="Tami Corson" userId="17b03132-2f21-4edf-a2df-f25c30f43233" providerId="ADAL" clId="{DE91C734-911C-4AEA-859B-D1325E341CA2}" dt="2022-03-30T23:15:00.145" v="8547"/>
          <ac:spMkLst>
            <pc:docMk/>
            <pc:sldMk cId="3762238417" sldId="367"/>
            <ac:spMk id="7" creationId="{8D8EC8C6-E4D1-4DBB-983D-FE47EF3371A4}"/>
          </ac:spMkLst>
        </pc:spChg>
        <pc:spChg chg="mod">
          <ac:chgData name="Tami Corson" userId="17b03132-2f21-4edf-a2df-f25c30f43233" providerId="ADAL" clId="{DE91C734-911C-4AEA-859B-D1325E341CA2}" dt="2022-03-30T23:15:00.145" v="8547"/>
          <ac:spMkLst>
            <pc:docMk/>
            <pc:sldMk cId="3762238417" sldId="367"/>
            <ac:spMk id="8" creationId="{0C428FE0-CEA6-4B06-818A-B15A33773397}"/>
          </ac:spMkLst>
        </pc:spChg>
        <pc:spChg chg="add mod">
          <ac:chgData name="Tami Corson" userId="17b03132-2f21-4edf-a2df-f25c30f43233" providerId="ADAL" clId="{DE91C734-911C-4AEA-859B-D1325E341CA2}" dt="2022-03-31T18:47:47.767" v="9622" actId="20577"/>
          <ac:spMkLst>
            <pc:docMk/>
            <pc:sldMk cId="3762238417" sldId="367"/>
            <ac:spMk id="9" creationId="{A559BC09-4387-488E-85BC-CBE75B1CE17C}"/>
          </ac:spMkLst>
        </pc:spChg>
        <pc:spChg chg="mod">
          <ac:chgData name="Tami Corson" userId="17b03132-2f21-4edf-a2df-f25c30f43233" providerId="ADAL" clId="{DE91C734-911C-4AEA-859B-D1325E341CA2}" dt="2022-04-05T02:20:54.985" v="11617" actId="1076"/>
          <ac:spMkLst>
            <pc:docMk/>
            <pc:sldMk cId="3762238417" sldId="367"/>
            <ac:spMk id="11" creationId="{CBD3480E-29E4-CF16-7FAC-4FDE84110F7D}"/>
          </ac:spMkLst>
        </pc:spChg>
        <pc:spChg chg="add del mod">
          <ac:chgData name="Tami Corson" userId="17b03132-2f21-4edf-a2df-f25c30f43233" providerId="ADAL" clId="{DE91C734-911C-4AEA-859B-D1325E341CA2}" dt="2022-04-05T02:23:16.579" v="11619" actId="478"/>
          <ac:spMkLst>
            <pc:docMk/>
            <pc:sldMk cId="3762238417" sldId="367"/>
            <ac:spMk id="12" creationId="{7AB26D86-2E9A-4497-88F4-CF4E6B52F215}"/>
          </ac:spMkLst>
        </pc:spChg>
        <pc:spChg chg="add mod">
          <ac:chgData name="Tami Corson" userId="17b03132-2f21-4edf-a2df-f25c30f43233" providerId="ADAL" clId="{DE91C734-911C-4AEA-859B-D1325E341CA2}" dt="2022-04-05T14:36:57.880" v="12371"/>
          <ac:spMkLst>
            <pc:docMk/>
            <pc:sldMk cId="3762238417" sldId="367"/>
            <ac:spMk id="13" creationId="{F106DBCA-0341-48B8-A479-099B70D97CBC}"/>
          </ac:spMkLst>
        </pc:spChg>
        <pc:grpChg chg="add mod">
          <ac:chgData name="Tami Corson" userId="17b03132-2f21-4edf-a2df-f25c30f43233" providerId="ADAL" clId="{DE91C734-911C-4AEA-859B-D1325E341CA2}" dt="2022-03-30T23:15:00.145" v="8547"/>
          <ac:grpSpMkLst>
            <pc:docMk/>
            <pc:sldMk cId="3762238417" sldId="367"/>
            <ac:grpSpMk id="6" creationId="{E77083C8-F76C-4F07-B275-7CDA0DAD89E4}"/>
          </ac:grpSpMkLst>
        </pc:grpChg>
      </pc:sldChg>
      <pc:sldChg chg="modSp mod">
        <pc:chgData name="Tami Corson" userId="17b03132-2f21-4edf-a2df-f25c30f43233" providerId="ADAL" clId="{DE91C734-911C-4AEA-859B-D1325E341CA2}" dt="2022-03-31T18:44:32.916" v="9479" actId="20577"/>
        <pc:sldMkLst>
          <pc:docMk/>
          <pc:sldMk cId="2478994861" sldId="368"/>
        </pc:sldMkLst>
        <pc:spChg chg="mod">
          <ac:chgData name="Tami Corson" userId="17b03132-2f21-4edf-a2df-f25c30f43233" providerId="ADAL" clId="{DE91C734-911C-4AEA-859B-D1325E341CA2}" dt="2022-03-31T18:44:32.916" v="9479" actId="20577"/>
          <ac:spMkLst>
            <pc:docMk/>
            <pc:sldMk cId="2478994861" sldId="368"/>
            <ac:spMk id="61" creationId="{4BA3EC63-1DC5-486F-98BD-5666DBC31E58}"/>
          </ac:spMkLst>
        </pc:spChg>
      </pc:sldChg>
      <pc:sldChg chg="delSp modSp add mod setBg">
        <pc:chgData name="Tami Corson" userId="17b03132-2f21-4edf-a2df-f25c30f43233" providerId="ADAL" clId="{DE91C734-911C-4AEA-859B-D1325E341CA2}" dt="2022-04-05T19:17:17.926" v="12861" actId="3626"/>
        <pc:sldMkLst>
          <pc:docMk/>
          <pc:sldMk cId="1138474479" sldId="369"/>
        </pc:sldMkLst>
        <pc:spChg chg="del mod">
          <ac:chgData name="Tami Corson" userId="17b03132-2f21-4edf-a2df-f25c30f43233" providerId="ADAL" clId="{DE91C734-911C-4AEA-859B-D1325E341CA2}" dt="2022-04-05T17:38:26.069" v="12859" actId="478"/>
          <ac:spMkLst>
            <pc:docMk/>
            <pc:sldMk cId="1138474479" sldId="369"/>
            <ac:spMk id="10" creationId="{A698D7F4-3A03-4266-B816-9503033CB2A4}"/>
          </ac:spMkLst>
        </pc:spChg>
        <pc:spChg chg="mod">
          <ac:chgData name="Tami Corson" userId="17b03132-2f21-4edf-a2df-f25c30f43233" providerId="ADAL" clId="{DE91C734-911C-4AEA-859B-D1325E341CA2}" dt="2022-03-30T02:05:18.932" v="8292" actId="20577"/>
          <ac:spMkLst>
            <pc:docMk/>
            <pc:sldMk cId="1138474479" sldId="369"/>
            <ac:spMk id="692" creationId="{00000000-0000-0000-0000-000000000000}"/>
          </ac:spMkLst>
        </pc:spChg>
        <pc:graphicFrameChg chg="mod modGraphic">
          <ac:chgData name="Tami Corson" userId="17b03132-2f21-4edf-a2df-f25c30f43233" providerId="ADAL" clId="{DE91C734-911C-4AEA-859B-D1325E341CA2}" dt="2022-04-05T19:17:17.926" v="12861" actId="3626"/>
          <ac:graphicFrameMkLst>
            <pc:docMk/>
            <pc:sldMk cId="1138474479" sldId="369"/>
            <ac:graphicFrameMk id="694" creationId="{00000000-0000-0000-0000-000000000000}"/>
          </ac:graphicFrameMkLst>
        </pc:graphicFrameChg>
      </pc:sldChg>
      <pc:sldChg chg="delSp modSp add mod setBg">
        <pc:chgData name="Tami Corson" userId="17b03132-2f21-4edf-a2df-f25c30f43233" providerId="ADAL" clId="{DE91C734-911C-4AEA-859B-D1325E341CA2}" dt="2022-04-05T17:16:38.025" v="12846"/>
        <pc:sldMkLst>
          <pc:docMk/>
          <pc:sldMk cId="388901022" sldId="370"/>
        </pc:sldMkLst>
        <pc:spChg chg="del mod">
          <ac:chgData name="Tami Corson" userId="17b03132-2f21-4edf-a2df-f25c30f43233" providerId="ADAL" clId="{DE91C734-911C-4AEA-859B-D1325E341CA2}" dt="2022-04-05T14:32:19.567" v="12163" actId="478"/>
          <ac:spMkLst>
            <pc:docMk/>
            <pc:sldMk cId="388901022" sldId="370"/>
            <ac:spMk id="10" creationId="{A698D7F4-3A03-4266-B816-9503033CB2A4}"/>
          </ac:spMkLst>
        </pc:spChg>
        <pc:spChg chg="mod">
          <ac:chgData name="Tami Corson" userId="17b03132-2f21-4edf-a2df-f25c30f43233" providerId="ADAL" clId="{DE91C734-911C-4AEA-859B-D1325E341CA2}" dt="2022-03-30T02:03:14.084" v="8165" actId="20577"/>
          <ac:spMkLst>
            <pc:docMk/>
            <pc:sldMk cId="388901022" sldId="370"/>
            <ac:spMk id="692" creationId="{00000000-0000-0000-0000-000000000000}"/>
          </ac:spMkLst>
        </pc:spChg>
        <pc:graphicFrameChg chg="mod modGraphic">
          <ac:chgData name="Tami Corson" userId="17b03132-2f21-4edf-a2df-f25c30f43233" providerId="ADAL" clId="{DE91C734-911C-4AEA-859B-D1325E341CA2}" dt="2022-04-05T17:16:38.025" v="12846"/>
          <ac:graphicFrameMkLst>
            <pc:docMk/>
            <pc:sldMk cId="388901022" sldId="370"/>
            <ac:graphicFrameMk id="694" creationId="{00000000-0000-0000-0000-000000000000}"/>
          </ac:graphicFrameMkLst>
        </pc:graphicFrameChg>
      </pc:sldChg>
      <pc:sldChg chg="modSp add mod">
        <pc:chgData name="Tami Corson" userId="17b03132-2f21-4edf-a2df-f25c30f43233" providerId="ADAL" clId="{DE91C734-911C-4AEA-859B-D1325E341CA2}" dt="2022-04-05T16:53:04.985" v="12544" actId="20577"/>
        <pc:sldMkLst>
          <pc:docMk/>
          <pc:sldMk cId="603633981" sldId="371"/>
        </pc:sldMkLst>
        <pc:spChg chg="mod">
          <ac:chgData name="Tami Corson" userId="17b03132-2f21-4edf-a2df-f25c30f43233" providerId="ADAL" clId="{DE91C734-911C-4AEA-859B-D1325E341CA2}" dt="2022-03-30T02:05:04.339" v="8281" actId="20577"/>
          <ac:spMkLst>
            <pc:docMk/>
            <pc:sldMk cId="603633981" sldId="371"/>
            <ac:spMk id="692" creationId="{00000000-0000-0000-0000-000000000000}"/>
          </ac:spMkLst>
        </pc:spChg>
        <pc:graphicFrameChg chg="mod modGraphic">
          <ac:chgData name="Tami Corson" userId="17b03132-2f21-4edf-a2df-f25c30f43233" providerId="ADAL" clId="{DE91C734-911C-4AEA-859B-D1325E341CA2}" dt="2022-04-05T16:53:04.985" v="12544" actId="20577"/>
          <ac:graphicFrameMkLst>
            <pc:docMk/>
            <pc:sldMk cId="603633981" sldId="371"/>
            <ac:graphicFrameMk id="694" creationId="{00000000-0000-0000-0000-000000000000}"/>
          </ac:graphicFrameMkLst>
        </pc:graphicFrameChg>
      </pc:sldChg>
      <pc:sldChg chg="add del">
        <pc:chgData name="Tami Corson" userId="17b03132-2f21-4edf-a2df-f25c30f43233" providerId="ADAL" clId="{DE91C734-911C-4AEA-859B-D1325E341CA2}" dt="2022-03-31T18:19:29.310" v="9018" actId="47"/>
        <pc:sldMkLst>
          <pc:docMk/>
          <pc:sldMk cId="3657150967" sldId="372"/>
        </pc:sldMkLst>
      </pc:sldChg>
      <pc:sldChg chg="addSp delSp modSp add mod">
        <pc:chgData name="Tami Corson" userId="17b03132-2f21-4edf-a2df-f25c30f43233" providerId="ADAL" clId="{DE91C734-911C-4AEA-859B-D1325E341CA2}" dt="2022-04-05T17:16:43.534" v="12847" actId="2"/>
        <pc:sldMkLst>
          <pc:docMk/>
          <pc:sldMk cId="874573340" sldId="373"/>
        </pc:sldMkLst>
        <pc:spChg chg="add del mod">
          <ac:chgData name="Tami Corson" userId="17b03132-2f21-4edf-a2df-f25c30f43233" providerId="ADAL" clId="{DE91C734-911C-4AEA-859B-D1325E341CA2}" dt="2022-04-04T16:15:57.892" v="10636" actId="478"/>
          <ac:spMkLst>
            <pc:docMk/>
            <pc:sldMk cId="874573340" sldId="373"/>
            <ac:spMk id="4" creationId="{5A3EED41-706A-4480-A25E-8861E45004C1}"/>
          </ac:spMkLst>
        </pc:spChg>
        <pc:spChg chg="add del mod">
          <ac:chgData name="Tami Corson" userId="17b03132-2f21-4edf-a2df-f25c30f43233" providerId="ADAL" clId="{DE91C734-911C-4AEA-859B-D1325E341CA2}" dt="2022-04-04T16:20:54.102" v="10733" actId="478"/>
          <ac:spMkLst>
            <pc:docMk/>
            <pc:sldMk cId="874573340" sldId="373"/>
            <ac:spMk id="6" creationId="{AD471C9A-3815-434B-96F2-1899745E3662}"/>
          </ac:spMkLst>
        </pc:spChg>
        <pc:spChg chg="add del mod">
          <ac:chgData name="Tami Corson" userId="17b03132-2f21-4edf-a2df-f25c30f43233" providerId="ADAL" clId="{DE91C734-911C-4AEA-859B-D1325E341CA2}" dt="2022-04-04T16:42:22.721" v="10810" actId="478"/>
          <ac:spMkLst>
            <pc:docMk/>
            <pc:sldMk cId="874573340" sldId="373"/>
            <ac:spMk id="10" creationId="{EB0D36C6-8595-4170-800D-10A1977ACFB4}"/>
          </ac:spMkLst>
        </pc:spChg>
        <pc:spChg chg="add mod">
          <ac:chgData name="Tami Corson" userId="17b03132-2f21-4edf-a2df-f25c30f43233" providerId="ADAL" clId="{DE91C734-911C-4AEA-859B-D1325E341CA2}" dt="2022-04-05T02:00:40.882" v="11493" actId="1076"/>
          <ac:spMkLst>
            <pc:docMk/>
            <pc:sldMk cId="874573340" sldId="373"/>
            <ac:spMk id="11" creationId="{F13F0CCB-25F8-472D-B660-682063222549}"/>
          </ac:spMkLst>
        </pc:spChg>
        <pc:spChg chg="mod">
          <ac:chgData name="Tami Corson" userId="17b03132-2f21-4edf-a2df-f25c30f43233" providerId="ADAL" clId="{DE91C734-911C-4AEA-859B-D1325E341CA2}" dt="2022-04-05T17:16:43.534" v="12847" actId="2"/>
          <ac:spMkLst>
            <pc:docMk/>
            <pc:sldMk cId="874573340" sldId="373"/>
            <ac:spMk id="15" creationId="{C4C62486-463F-4FC0-B499-CE49552602ED}"/>
          </ac:spMkLst>
        </pc:spChg>
        <pc:spChg chg="add del mod">
          <ac:chgData name="Tami Corson" userId="17b03132-2f21-4edf-a2df-f25c30f43233" providerId="ADAL" clId="{DE91C734-911C-4AEA-859B-D1325E341CA2}" dt="2022-04-04T16:06:31.104" v="10611" actId="478"/>
          <ac:spMkLst>
            <pc:docMk/>
            <pc:sldMk cId="874573340" sldId="373"/>
            <ac:spMk id="16" creationId="{FA350308-1FE7-45EE-B3DC-3D3434DF4E7B}"/>
          </ac:spMkLst>
        </pc:spChg>
        <pc:spChg chg="mod">
          <ac:chgData name="Tami Corson" userId="17b03132-2f21-4edf-a2df-f25c30f43233" providerId="ADAL" clId="{DE91C734-911C-4AEA-859B-D1325E341CA2}" dt="2022-03-31T18:20:55.792" v="9162" actId="33524"/>
          <ac:spMkLst>
            <pc:docMk/>
            <pc:sldMk cId="874573340" sldId="373"/>
            <ac:spMk id="572" creationId="{00000000-0000-0000-0000-000000000000}"/>
          </ac:spMkLst>
        </pc:spChg>
        <pc:spChg chg="mod">
          <ac:chgData name="Tami Corson" userId="17b03132-2f21-4edf-a2df-f25c30f43233" providerId="ADAL" clId="{DE91C734-911C-4AEA-859B-D1325E341CA2}" dt="2022-04-05T16:52:20.017" v="12533" actId="20577"/>
          <ac:spMkLst>
            <pc:docMk/>
            <pc:sldMk cId="874573340" sldId="373"/>
            <ac:spMk id="575" creationId="{00000000-0000-0000-0000-000000000000}"/>
          </ac:spMkLst>
        </pc:spChg>
        <pc:spChg chg="mod">
          <ac:chgData name="Tami Corson" userId="17b03132-2f21-4edf-a2df-f25c30f43233" providerId="ADAL" clId="{DE91C734-911C-4AEA-859B-D1325E341CA2}" dt="2022-03-31T18:24:16.184" v="9392" actId="20577"/>
          <ac:spMkLst>
            <pc:docMk/>
            <pc:sldMk cId="874573340" sldId="373"/>
            <ac:spMk id="579" creationId="{00000000-0000-0000-0000-000000000000}"/>
          </ac:spMkLst>
        </pc:spChg>
        <pc:picChg chg="add mod modCrop">
          <ac:chgData name="Tami Corson" userId="17b03132-2f21-4edf-a2df-f25c30f43233" providerId="ADAL" clId="{DE91C734-911C-4AEA-859B-D1325E341CA2}" dt="2022-04-04T16:45:24.362" v="10832" actId="732"/>
          <ac:picMkLst>
            <pc:docMk/>
            <pc:sldMk cId="874573340" sldId="373"/>
            <ac:picMk id="9" creationId="{3848CF10-59F7-42DA-AB47-C24BD859DBFB}"/>
          </ac:picMkLst>
        </pc:picChg>
      </pc:sldChg>
      <pc:sldChg chg="addSp delSp modSp mod">
        <pc:chgData name="Tami Corson" userId="17b03132-2f21-4edf-a2df-f25c30f43233" providerId="ADAL" clId="{DE91C734-911C-4AEA-859B-D1325E341CA2}" dt="2022-04-05T14:12:26.537" v="12053"/>
        <pc:sldMkLst>
          <pc:docMk/>
          <pc:sldMk cId="3514561185" sldId="374"/>
        </pc:sldMkLst>
        <pc:spChg chg="mod">
          <ac:chgData name="Tami Corson" userId="17b03132-2f21-4edf-a2df-f25c30f43233" providerId="ADAL" clId="{DE91C734-911C-4AEA-859B-D1325E341CA2}" dt="2022-04-05T14:11:09.125" v="12046"/>
          <ac:spMkLst>
            <pc:docMk/>
            <pc:sldMk cId="3514561185" sldId="374"/>
            <ac:spMk id="10" creationId="{7617DBBE-721A-40E3-A485-C406D22EE706}"/>
          </ac:spMkLst>
        </pc:spChg>
        <pc:spChg chg="mod">
          <ac:chgData name="Tami Corson" userId="17b03132-2f21-4edf-a2df-f25c30f43233" providerId="ADAL" clId="{DE91C734-911C-4AEA-859B-D1325E341CA2}" dt="2022-04-05T14:11:09.125" v="12046"/>
          <ac:spMkLst>
            <pc:docMk/>
            <pc:sldMk cId="3514561185" sldId="374"/>
            <ac:spMk id="11" creationId="{A673198D-51D0-4B43-AB13-17DF17491953}"/>
          </ac:spMkLst>
        </pc:spChg>
        <pc:spChg chg="mod">
          <ac:chgData name="Tami Corson" userId="17b03132-2f21-4edf-a2df-f25c30f43233" providerId="ADAL" clId="{DE91C734-911C-4AEA-859B-D1325E341CA2}" dt="2022-04-05T14:12:26.537" v="12053"/>
          <ac:spMkLst>
            <pc:docMk/>
            <pc:sldMk cId="3514561185" sldId="374"/>
            <ac:spMk id="13" creationId="{7D2FD8AF-6445-45A3-AFEA-0B3048DF7CC7}"/>
          </ac:spMkLst>
        </pc:spChg>
        <pc:spChg chg="mod">
          <ac:chgData name="Tami Corson" userId="17b03132-2f21-4edf-a2df-f25c30f43233" providerId="ADAL" clId="{DE91C734-911C-4AEA-859B-D1325E341CA2}" dt="2022-04-05T14:12:26.537" v="12053"/>
          <ac:spMkLst>
            <pc:docMk/>
            <pc:sldMk cId="3514561185" sldId="374"/>
            <ac:spMk id="14" creationId="{A245F304-F8D2-45B3-A737-C177B8BE30A4}"/>
          </ac:spMkLst>
        </pc:spChg>
        <pc:spChg chg="mod">
          <ac:chgData name="Tami Corson" userId="17b03132-2f21-4edf-a2df-f25c30f43233" providerId="ADAL" clId="{DE91C734-911C-4AEA-859B-D1325E341CA2}" dt="2022-04-05T14:11:20.008" v="12047" actId="14100"/>
          <ac:spMkLst>
            <pc:docMk/>
            <pc:sldMk cId="3514561185" sldId="374"/>
            <ac:spMk id="331" creationId="{00000000-0000-0000-0000-000000000000}"/>
          </ac:spMkLst>
        </pc:spChg>
        <pc:spChg chg="mod">
          <ac:chgData name="Tami Corson" userId="17b03132-2f21-4edf-a2df-f25c30f43233" providerId="ADAL" clId="{DE91C734-911C-4AEA-859B-D1325E341CA2}" dt="2022-04-05T14:11:24.082" v="12048" actId="1076"/>
          <ac:spMkLst>
            <pc:docMk/>
            <pc:sldMk cId="3514561185" sldId="374"/>
            <ac:spMk id="333" creationId="{00000000-0000-0000-0000-000000000000}"/>
          </ac:spMkLst>
        </pc:spChg>
        <pc:spChg chg="mod">
          <ac:chgData name="Tami Corson" userId="17b03132-2f21-4edf-a2df-f25c30f43233" providerId="ADAL" clId="{DE91C734-911C-4AEA-859B-D1325E341CA2}" dt="2022-04-05T14:11:34.515" v="12049" actId="1076"/>
          <ac:spMkLst>
            <pc:docMk/>
            <pc:sldMk cId="3514561185" sldId="374"/>
            <ac:spMk id="334" creationId="{00000000-0000-0000-0000-000000000000}"/>
          </ac:spMkLst>
        </pc:spChg>
        <pc:grpChg chg="add del mod">
          <ac:chgData name="Tami Corson" userId="17b03132-2f21-4edf-a2df-f25c30f43233" providerId="ADAL" clId="{DE91C734-911C-4AEA-859B-D1325E341CA2}" dt="2022-04-05T14:12:26.522" v="12052" actId="478"/>
          <ac:grpSpMkLst>
            <pc:docMk/>
            <pc:sldMk cId="3514561185" sldId="374"/>
            <ac:grpSpMk id="9" creationId="{B7D42E5A-0C79-4687-958C-04E2A91DDB7A}"/>
          </ac:grpSpMkLst>
        </pc:grpChg>
        <pc:grpChg chg="add mod">
          <ac:chgData name="Tami Corson" userId="17b03132-2f21-4edf-a2df-f25c30f43233" providerId="ADAL" clId="{DE91C734-911C-4AEA-859B-D1325E341CA2}" dt="2022-04-05T14:12:26.537" v="12053"/>
          <ac:grpSpMkLst>
            <pc:docMk/>
            <pc:sldMk cId="3514561185" sldId="374"/>
            <ac:grpSpMk id="12" creationId="{1DB4AE3A-FFA1-4FED-BE8F-2B855320F289}"/>
          </ac:grpSpMkLst>
        </pc:grpChg>
      </pc:sldChg>
      <pc:sldChg chg="addSp delSp modSp mod">
        <pc:chgData name="Tami Corson" userId="17b03132-2f21-4edf-a2df-f25c30f43233" providerId="ADAL" clId="{DE91C734-911C-4AEA-859B-D1325E341CA2}" dt="2022-04-05T15:44:09.342" v="12498" actId="947"/>
        <pc:sldMkLst>
          <pc:docMk/>
          <pc:sldMk cId="604654217" sldId="375"/>
        </pc:sldMkLst>
        <pc:spChg chg="mod">
          <ac:chgData name="Tami Corson" userId="17b03132-2f21-4edf-a2df-f25c30f43233" providerId="ADAL" clId="{DE91C734-911C-4AEA-859B-D1325E341CA2}" dt="2022-04-05T15:44:09.342" v="12498" actId="947"/>
          <ac:spMkLst>
            <pc:docMk/>
            <pc:sldMk cId="604654217" sldId="375"/>
            <ac:spMk id="3" creationId="{346B9D98-5C00-250F-2E85-76FD3A920D22}"/>
          </ac:spMkLst>
        </pc:spChg>
        <pc:spChg chg="mod">
          <ac:chgData name="Tami Corson" userId="17b03132-2f21-4edf-a2df-f25c30f43233" providerId="ADAL" clId="{DE91C734-911C-4AEA-859B-D1325E341CA2}" dt="2022-04-05T14:38:20.397" v="12386" actId="14100"/>
          <ac:spMkLst>
            <pc:docMk/>
            <pc:sldMk cId="604654217" sldId="375"/>
            <ac:spMk id="5" creationId="{36D64229-262E-4A6E-9C18-00F422DCB439}"/>
          </ac:spMkLst>
        </pc:spChg>
        <pc:spChg chg="add mod">
          <ac:chgData name="Tami Corson" userId="17b03132-2f21-4edf-a2df-f25c30f43233" providerId="ADAL" clId="{DE91C734-911C-4AEA-859B-D1325E341CA2}" dt="2022-04-05T02:34:04.899" v="11710" actId="6549"/>
          <ac:spMkLst>
            <pc:docMk/>
            <pc:sldMk cId="604654217" sldId="375"/>
            <ac:spMk id="15" creationId="{8234A49B-42C8-4AB6-91D6-8149E021948F}"/>
          </ac:spMkLst>
        </pc:spChg>
        <pc:spChg chg="add mod">
          <ac:chgData name="Tami Corson" userId="17b03132-2f21-4edf-a2df-f25c30f43233" providerId="ADAL" clId="{DE91C734-911C-4AEA-859B-D1325E341CA2}" dt="2022-04-05T14:38:28.597" v="12388"/>
          <ac:spMkLst>
            <pc:docMk/>
            <pc:sldMk cId="604654217" sldId="375"/>
            <ac:spMk id="16" creationId="{B45C34C9-EDCA-4783-9C15-8952930EA831}"/>
          </ac:spMkLst>
        </pc:spChg>
        <pc:picChg chg="mod">
          <ac:chgData name="Tami Corson" userId="17b03132-2f21-4edf-a2df-f25c30f43233" providerId="ADAL" clId="{DE91C734-911C-4AEA-859B-D1325E341CA2}" dt="2022-04-05T14:38:24.976" v="12387" actId="1076"/>
          <ac:picMkLst>
            <pc:docMk/>
            <pc:sldMk cId="604654217" sldId="375"/>
            <ac:picMk id="14" creationId="{CEC8603A-E559-D88F-8BB6-20BE147D64A6}"/>
          </ac:picMkLst>
        </pc:picChg>
        <pc:cxnChg chg="add del">
          <ac:chgData name="Tami Corson" userId="17b03132-2f21-4edf-a2df-f25c30f43233" providerId="ADAL" clId="{DE91C734-911C-4AEA-859B-D1325E341CA2}" dt="2022-04-05T15:42:16.712" v="12479" actId="478"/>
          <ac:cxnSpMkLst>
            <pc:docMk/>
            <pc:sldMk cId="604654217" sldId="375"/>
            <ac:cxnSpMk id="11" creationId="{80DA06C6-E09C-08BC-D6FB-BC20D8957044}"/>
          </ac:cxnSpMkLst>
        </pc:cxnChg>
        <pc:cxnChg chg="del">
          <ac:chgData name="Tami Corson" userId="17b03132-2f21-4edf-a2df-f25c30f43233" providerId="ADAL" clId="{DE91C734-911C-4AEA-859B-D1325E341CA2}" dt="2022-04-05T15:43:10.229" v="12493" actId="478"/>
          <ac:cxnSpMkLst>
            <pc:docMk/>
            <pc:sldMk cId="604654217" sldId="375"/>
            <ac:cxnSpMk id="12" creationId="{77793D15-5876-2206-449B-4B1F41AFE012}"/>
          </ac:cxnSpMkLst>
        </pc:cxnChg>
        <pc:cxnChg chg="del">
          <ac:chgData name="Tami Corson" userId="17b03132-2f21-4edf-a2df-f25c30f43233" providerId="ADAL" clId="{DE91C734-911C-4AEA-859B-D1325E341CA2}" dt="2022-04-05T15:43:13.319" v="12494" actId="478"/>
          <ac:cxnSpMkLst>
            <pc:docMk/>
            <pc:sldMk cId="604654217" sldId="375"/>
            <ac:cxnSpMk id="13" creationId="{70D6C415-5AB0-50A0-6B7B-F91A78ED3D34}"/>
          </ac:cxnSpMkLst>
        </pc:cxnChg>
      </pc:sldChg>
      <pc:sldChg chg="addSp modSp mod">
        <pc:chgData name="Tami Corson" userId="17b03132-2f21-4edf-a2df-f25c30f43233" providerId="ADAL" clId="{DE91C734-911C-4AEA-859B-D1325E341CA2}" dt="2022-04-05T19:18:23.024" v="12862" actId="3626"/>
        <pc:sldMkLst>
          <pc:docMk/>
          <pc:sldMk cId="3117050842" sldId="377"/>
        </pc:sldMkLst>
        <pc:spChg chg="add mod">
          <ac:chgData name="Tami Corson" userId="17b03132-2f21-4edf-a2df-f25c30f43233" providerId="ADAL" clId="{DE91C734-911C-4AEA-859B-D1325E341CA2}" dt="2022-04-05T19:18:23.024" v="12862" actId="3626"/>
          <ac:spMkLst>
            <pc:docMk/>
            <pc:sldMk cId="3117050842" sldId="377"/>
            <ac:spMk id="12" creationId="{85D5939B-C636-4551-B695-13CF3D96E08C}"/>
          </ac:spMkLst>
        </pc:spChg>
        <pc:spChg chg="add mod">
          <ac:chgData name="Tami Corson" userId="17b03132-2f21-4edf-a2df-f25c30f43233" providerId="ADAL" clId="{DE91C734-911C-4AEA-859B-D1325E341CA2}" dt="2022-04-05T02:20:40.869" v="11616"/>
          <ac:spMkLst>
            <pc:docMk/>
            <pc:sldMk cId="3117050842" sldId="377"/>
            <ac:spMk id="13" creationId="{52728604-4CC7-4599-8C24-A8100EF5CD46}"/>
          </ac:spMkLst>
        </pc:spChg>
        <pc:spChg chg="add mod">
          <ac:chgData name="Tami Corson" userId="17b03132-2f21-4edf-a2df-f25c30f43233" providerId="ADAL" clId="{DE91C734-911C-4AEA-859B-D1325E341CA2}" dt="2022-04-05T14:33:57.004" v="12294" actId="1076"/>
          <ac:spMkLst>
            <pc:docMk/>
            <pc:sldMk cId="3117050842" sldId="377"/>
            <ac:spMk id="18" creationId="{F4B2C878-DA8A-4485-AE71-43CCC1F50856}"/>
          </ac:spMkLst>
        </pc:spChg>
        <pc:spChg chg="add mod">
          <ac:chgData name="Tami Corson" userId="17b03132-2f21-4edf-a2df-f25c30f43233" providerId="ADAL" clId="{DE91C734-911C-4AEA-859B-D1325E341CA2}" dt="2022-04-05T14:37:05.707" v="12372"/>
          <ac:spMkLst>
            <pc:docMk/>
            <pc:sldMk cId="3117050842" sldId="377"/>
            <ac:spMk id="20" creationId="{A58EAE1F-F0F4-469B-9399-E85D31E11982}"/>
          </ac:spMkLst>
        </pc:spChg>
      </pc:sldChg>
    </pc:docChg>
  </pc:docChgLst>
  <pc:docChgLst>
    <pc:chgData name="Guest User" userId="S::urn:spo:anon#c437c167f923f422528aee73b5e70e5726914197d2dec7f210a84ae49e8498a7::" providerId="AD" clId="Web-{239DA121-B219-84BB-8432-811246FFE42E}"/>
    <pc:docChg chg="addSld modSld">
      <pc:chgData name="Guest User" userId="S::urn:spo:anon#c437c167f923f422528aee73b5e70e5726914197d2dec7f210a84ae49e8498a7::" providerId="AD" clId="Web-{239DA121-B219-84BB-8432-811246FFE42E}" dt="2022-03-28T19:05:30.157" v="695" actId="14100"/>
      <pc:docMkLst>
        <pc:docMk/>
      </pc:docMkLst>
      <pc:sldChg chg="addSp modSp">
        <pc:chgData name="Guest User" userId="S::urn:spo:anon#c437c167f923f422528aee73b5e70e5726914197d2dec7f210a84ae49e8498a7::" providerId="AD" clId="Web-{239DA121-B219-84BB-8432-811246FFE42E}" dt="2022-03-28T18:46:03.565" v="572" actId="20577"/>
        <pc:sldMkLst>
          <pc:docMk/>
          <pc:sldMk cId="2576879601" sldId="365"/>
        </pc:sldMkLst>
        <pc:spChg chg="mod">
          <ac:chgData name="Guest User" userId="S::urn:spo:anon#c437c167f923f422528aee73b5e70e5726914197d2dec7f210a84ae49e8498a7::" providerId="AD" clId="Web-{239DA121-B219-84BB-8432-811246FFE42E}" dt="2022-03-28T17:21:39.229" v="33" actId="20577"/>
          <ac:spMkLst>
            <pc:docMk/>
            <pc:sldMk cId="2576879601" sldId="365"/>
            <ac:spMk id="2" creationId="{AB52A157-2CB8-6DCB-8D3B-00713BF25DCA}"/>
          </ac:spMkLst>
        </pc:spChg>
        <pc:spChg chg="mod">
          <ac:chgData name="Guest User" userId="S::urn:spo:anon#c437c167f923f422528aee73b5e70e5726914197d2dec7f210a84ae49e8498a7::" providerId="AD" clId="Web-{239DA121-B219-84BB-8432-811246FFE42E}" dt="2022-03-28T18:46:03.565" v="572" actId="20577"/>
          <ac:spMkLst>
            <pc:docMk/>
            <pc:sldMk cId="2576879601" sldId="365"/>
            <ac:spMk id="3" creationId="{346B9D98-5C00-250F-2E85-76FD3A920D22}"/>
          </ac:spMkLst>
        </pc:spChg>
        <pc:spChg chg="add mod">
          <ac:chgData name="Guest User" userId="S::urn:spo:anon#c437c167f923f422528aee73b5e70e5726914197d2dec7f210a84ae49e8498a7::" providerId="AD" clId="Web-{239DA121-B219-84BB-8432-811246FFE42E}" dt="2022-03-28T18:43:10.655" v="492" actId="14100"/>
          <ac:spMkLst>
            <pc:docMk/>
            <pc:sldMk cId="2576879601" sldId="365"/>
            <ac:spMk id="5" creationId="{B7651FB1-3FE6-E20B-3600-01AAC0F88061}"/>
          </ac:spMkLst>
        </pc:spChg>
        <pc:spChg chg="add mod">
          <ac:chgData name="Guest User" userId="S::urn:spo:anon#c437c167f923f422528aee73b5e70e5726914197d2dec7f210a84ae49e8498a7::" providerId="AD" clId="Web-{239DA121-B219-84BB-8432-811246FFE42E}" dt="2022-03-28T18:45:13.001" v="566" actId="20577"/>
          <ac:spMkLst>
            <pc:docMk/>
            <pc:sldMk cId="2576879601" sldId="365"/>
            <ac:spMk id="6" creationId="{74F8F5B6-6C79-278D-D3C6-E2F59AC9C58B}"/>
          </ac:spMkLst>
        </pc:spChg>
      </pc:sldChg>
      <pc:sldChg chg="addSp delSp modSp add replId">
        <pc:chgData name="Guest User" userId="S::urn:spo:anon#c437c167f923f422528aee73b5e70e5726914197d2dec7f210a84ae49e8498a7::" providerId="AD" clId="Web-{239DA121-B219-84BB-8432-811246FFE42E}" dt="2022-03-28T19:05:30.157" v="695" actId="14100"/>
        <pc:sldMkLst>
          <pc:docMk/>
          <pc:sldMk cId="1695560817" sldId="366"/>
        </pc:sldMkLst>
        <pc:spChg chg="mod">
          <ac:chgData name="Guest User" userId="S::urn:spo:anon#c437c167f923f422528aee73b5e70e5726914197d2dec7f210a84ae49e8498a7::" providerId="AD" clId="Web-{239DA121-B219-84BB-8432-811246FFE42E}" dt="2022-03-28T17:25:23.673" v="168" actId="20577"/>
          <ac:spMkLst>
            <pc:docMk/>
            <pc:sldMk cId="1695560817" sldId="366"/>
            <ac:spMk id="2" creationId="{AB52A157-2CB8-6DCB-8D3B-00713BF25DCA}"/>
          </ac:spMkLst>
        </pc:spChg>
        <pc:spChg chg="del">
          <ac:chgData name="Guest User" userId="S::urn:spo:anon#c437c167f923f422528aee73b5e70e5726914197d2dec7f210a84ae49e8498a7::" providerId="AD" clId="Web-{239DA121-B219-84BB-8432-811246FFE42E}" dt="2022-03-28T17:25:00.001" v="154"/>
          <ac:spMkLst>
            <pc:docMk/>
            <pc:sldMk cId="1695560817" sldId="366"/>
            <ac:spMk id="3" creationId="{346B9D98-5C00-250F-2E85-76FD3A920D22}"/>
          </ac:spMkLst>
        </pc:spChg>
        <pc:spChg chg="del mod">
          <ac:chgData name="Guest User" userId="S::urn:spo:anon#c437c167f923f422528aee73b5e70e5726914197d2dec7f210a84ae49e8498a7::" providerId="AD" clId="Web-{239DA121-B219-84BB-8432-811246FFE42E}" dt="2022-03-28T17:25:57.377" v="258"/>
          <ac:spMkLst>
            <pc:docMk/>
            <pc:sldMk cId="1695560817" sldId="366"/>
            <ac:spMk id="4" creationId="{EF30D916-BF44-FCC1-0C2B-6AE80D374176}"/>
          </ac:spMkLst>
        </pc:spChg>
        <pc:spChg chg="add del">
          <ac:chgData name="Guest User" userId="S::urn:spo:anon#c437c167f923f422528aee73b5e70e5726914197d2dec7f210a84ae49e8498a7::" providerId="AD" clId="Web-{239DA121-B219-84BB-8432-811246FFE42E}" dt="2022-03-28T17:25:37.892" v="251"/>
          <ac:spMkLst>
            <pc:docMk/>
            <pc:sldMk cId="1695560817" sldId="366"/>
            <ac:spMk id="8" creationId="{FE871B3E-76DC-F4F3-A467-5C855F054010}"/>
          </ac:spMkLst>
        </pc:spChg>
        <pc:spChg chg="add del">
          <ac:chgData name="Guest User" userId="S::urn:spo:anon#c437c167f923f422528aee73b5e70e5726914197d2dec7f210a84ae49e8498a7::" providerId="AD" clId="Web-{239DA121-B219-84BB-8432-811246FFE42E}" dt="2022-03-28T17:25:37.892" v="250"/>
          <ac:spMkLst>
            <pc:docMk/>
            <pc:sldMk cId="1695560817" sldId="366"/>
            <ac:spMk id="10" creationId="{4A90CAC3-E973-8196-5408-F0124D5FB1CB}"/>
          </ac:spMkLst>
        </pc:spChg>
        <pc:spChg chg="add del">
          <ac:chgData name="Guest User" userId="S::urn:spo:anon#c437c167f923f422528aee73b5e70e5726914197d2dec7f210a84ae49e8498a7::" providerId="AD" clId="Web-{239DA121-B219-84BB-8432-811246FFE42E}" dt="2022-03-28T17:25:37.892" v="249"/>
          <ac:spMkLst>
            <pc:docMk/>
            <pc:sldMk cId="1695560817" sldId="366"/>
            <ac:spMk id="12" creationId="{95557D0C-D08A-6048-49E5-6FDA707ACE64}"/>
          </ac:spMkLst>
        </pc:spChg>
        <pc:spChg chg="add del">
          <ac:chgData name="Guest User" userId="S::urn:spo:anon#c437c167f923f422528aee73b5e70e5726914197d2dec7f210a84ae49e8498a7::" providerId="AD" clId="Web-{239DA121-B219-84BB-8432-811246FFE42E}" dt="2022-03-28T17:25:37.892" v="248"/>
          <ac:spMkLst>
            <pc:docMk/>
            <pc:sldMk cId="1695560817" sldId="366"/>
            <ac:spMk id="14" creationId="{50478519-685B-D38C-37CC-8844837E6317}"/>
          </ac:spMkLst>
        </pc:spChg>
        <pc:spChg chg="add del">
          <ac:chgData name="Guest User" userId="S::urn:spo:anon#c437c167f923f422528aee73b5e70e5726914197d2dec7f210a84ae49e8498a7::" providerId="AD" clId="Web-{239DA121-B219-84BB-8432-811246FFE42E}" dt="2022-03-28T17:25:45.986" v="253"/>
          <ac:spMkLst>
            <pc:docMk/>
            <pc:sldMk cId="1695560817" sldId="366"/>
            <ac:spMk id="16" creationId="{76E61E22-5EC3-C631-C8AA-ACAAA27B6936}"/>
          </ac:spMkLst>
        </pc:spChg>
        <pc:spChg chg="add del">
          <ac:chgData name="Guest User" userId="S::urn:spo:anon#c437c167f923f422528aee73b5e70e5726914197d2dec7f210a84ae49e8498a7::" providerId="AD" clId="Web-{239DA121-B219-84BB-8432-811246FFE42E}" dt="2022-03-28T17:25:45.986" v="252"/>
          <ac:spMkLst>
            <pc:docMk/>
            <pc:sldMk cId="1695560817" sldId="366"/>
            <ac:spMk id="18" creationId="{D2DA0F5C-9D66-47A8-10BB-63F361EA5D51}"/>
          </ac:spMkLst>
        </pc:spChg>
        <pc:spChg chg="add del">
          <ac:chgData name="Guest User" userId="S::urn:spo:anon#c437c167f923f422528aee73b5e70e5726914197d2dec7f210a84ae49e8498a7::" providerId="AD" clId="Web-{239DA121-B219-84BB-8432-811246FFE42E}" dt="2022-03-28T17:25:52.049" v="256"/>
          <ac:spMkLst>
            <pc:docMk/>
            <pc:sldMk cId="1695560817" sldId="366"/>
            <ac:spMk id="20" creationId="{E79F7827-3D3E-9AAE-B0B2-F28B70208D10}"/>
          </ac:spMkLst>
        </pc:spChg>
        <pc:spChg chg="add del">
          <ac:chgData name="Guest User" userId="S::urn:spo:anon#c437c167f923f422528aee73b5e70e5726914197d2dec7f210a84ae49e8498a7::" providerId="AD" clId="Web-{239DA121-B219-84BB-8432-811246FFE42E}" dt="2022-03-28T17:25:52.049" v="255"/>
          <ac:spMkLst>
            <pc:docMk/>
            <pc:sldMk cId="1695560817" sldId="366"/>
            <ac:spMk id="22" creationId="{8E123B69-B54E-5733-F4A4-B9791500C2A8}"/>
          </ac:spMkLst>
        </pc:spChg>
        <pc:spChg chg="add del">
          <ac:chgData name="Guest User" userId="S::urn:spo:anon#c437c167f923f422528aee73b5e70e5726914197d2dec7f210a84ae49e8498a7::" providerId="AD" clId="Web-{239DA121-B219-84BB-8432-811246FFE42E}" dt="2022-03-28T17:25:52.049" v="254"/>
          <ac:spMkLst>
            <pc:docMk/>
            <pc:sldMk cId="1695560817" sldId="366"/>
            <ac:spMk id="24" creationId="{4BF72E62-7055-B1B1-3DE4-FA4592B8FBA9}"/>
          </ac:spMkLst>
        </pc:spChg>
        <pc:spChg chg="add mod">
          <ac:chgData name="Guest User" userId="S::urn:spo:anon#c437c167f923f422528aee73b5e70e5726914197d2dec7f210a84ae49e8498a7::" providerId="AD" clId="Web-{239DA121-B219-84BB-8432-811246FFE42E}" dt="2022-03-28T17:26:48.566" v="298" actId="1076"/>
          <ac:spMkLst>
            <pc:docMk/>
            <pc:sldMk cId="1695560817" sldId="366"/>
            <ac:spMk id="26" creationId="{955AC05E-33FB-3C44-F3BC-31A82617FF2F}"/>
          </ac:spMkLst>
        </pc:spChg>
        <pc:spChg chg="add mod">
          <ac:chgData name="Guest User" userId="S::urn:spo:anon#c437c167f923f422528aee73b5e70e5726914197d2dec7f210a84ae49e8498a7::" providerId="AD" clId="Web-{239DA121-B219-84BB-8432-811246FFE42E}" dt="2022-03-28T17:26:48.566" v="299" actId="1076"/>
          <ac:spMkLst>
            <pc:docMk/>
            <pc:sldMk cId="1695560817" sldId="366"/>
            <ac:spMk id="28" creationId="{6BCD0965-B080-4C07-162C-B1793916C7AE}"/>
          </ac:spMkLst>
        </pc:spChg>
        <pc:spChg chg="add del">
          <ac:chgData name="Guest User" userId="S::urn:spo:anon#c437c167f923f422528aee73b5e70e5726914197d2dec7f210a84ae49e8498a7::" providerId="AD" clId="Web-{239DA121-B219-84BB-8432-811246FFE42E}" dt="2022-03-28T17:26:07.879" v="282"/>
          <ac:spMkLst>
            <pc:docMk/>
            <pc:sldMk cId="1695560817" sldId="366"/>
            <ac:spMk id="30" creationId="{10DFBBE8-B483-5E57-A9F9-9ADEEB2F8E39}"/>
          </ac:spMkLst>
        </pc:spChg>
        <pc:spChg chg="add del">
          <ac:chgData name="Guest User" userId="S::urn:spo:anon#c437c167f923f422528aee73b5e70e5726914197d2dec7f210a84ae49e8498a7::" providerId="AD" clId="Web-{239DA121-B219-84BB-8432-811246FFE42E}" dt="2022-03-28T17:26:06.909" v="281"/>
          <ac:spMkLst>
            <pc:docMk/>
            <pc:sldMk cId="1695560817" sldId="366"/>
            <ac:spMk id="32" creationId="{4425B6BA-1988-16B0-3CA7-0C63F391EFCB}"/>
          </ac:spMkLst>
        </pc:spChg>
        <pc:spChg chg="add">
          <ac:chgData name="Guest User" userId="S::urn:spo:anon#c437c167f923f422528aee73b5e70e5726914197d2dec7f210a84ae49e8498a7::" providerId="AD" clId="Web-{239DA121-B219-84BB-8432-811246FFE42E}" dt="2022-03-28T17:25:25.626" v="183"/>
          <ac:spMkLst>
            <pc:docMk/>
            <pc:sldMk cId="1695560817" sldId="366"/>
            <ac:spMk id="34" creationId="{4DF9B8DF-A76D-75E1-F47E-E16EA41AAFC1}"/>
          </ac:spMkLst>
        </pc:spChg>
        <pc:spChg chg="add">
          <ac:chgData name="Guest User" userId="S::urn:spo:anon#c437c167f923f422528aee73b5e70e5726914197d2dec7f210a84ae49e8498a7::" providerId="AD" clId="Web-{239DA121-B219-84BB-8432-811246FFE42E}" dt="2022-03-28T17:25:25.642" v="184"/>
          <ac:spMkLst>
            <pc:docMk/>
            <pc:sldMk cId="1695560817" sldId="366"/>
            <ac:spMk id="36" creationId="{B54A5F69-1C30-7571-6B17-59787A961DAF}"/>
          </ac:spMkLst>
        </pc:spChg>
        <pc:spChg chg="add del">
          <ac:chgData name="Guest User" userId="S::urn:spo:anon#c437c167f923f422528aee73b5e70e5726914197d2dec7f210a84ae49e8498a7::" providerId="AD" clId="Web-{239DA121-B219-84BB-8432-811246FFE42E}" dt="2022-03-28T17:26:11.221" v="283"/>
          <ac:spMkLst>
            <pc:docMk/>
            <pc:sldMk cId="1695560817" sldId="366"/>
            <ac:spMk id="38" creationId="{D4ADC49A-C461-5ECA-5639-DD131971279B}"/>
          </ac:spMkLst>
        </pc:spChg>
        <pc:spChg chg="add del">
          <ac:chgData name="Guest User" userId="S::urn:spo:anon#c437c167f923f422528aee73b5e70e5726914197d2dec7f210a84ae49e8498a7::" providerId="AD" clId="Web-{239DA121-B219-84BB-8432-811246FFE42E}" dt="2022-03-28T17:26:17.143" v="287"/>
          <ac:spMkLst>
            <pc:docMk/>
            <pc:sldMk cId="1695560817" sldId="366"/>
            <ac:spMk id="40" creationId="{3AFADB3E-181D-051D-9D90-D19C917E47B6}"/>
          </ac:spMkLst>
        </pc:spChg>
        <pc:spChg chg="add del">
          <ac:chgData name="Guest User" userId="S::urn:spo:anon#c437c167f923f422528aee73b5e70e5726914197d2dec7f210a84ae49e8498a7::" providerId="AD" clId="Web-{239DA121-B219-84BB-8432-811246FFE42E}" dt="2022-03-28T17:26:20.331" v="289"/>
          <ac:spMkLst>
            <pc:docMk/>
            <pc:sldMk cId="1695560817" sldId="366"/>
            <ac:spMk id="42" creationId="{6FB88DCE-779F-6E24-5671-6BC88BBAE973}"/>
          </ac:spMkLst>
        </pc:spChg>
        <pc:spChg chg="add del">
          <ac:chgData name="Guest User" userId="S::urn:spo:anon#c437c167f923f422528aee73b5e70e5726914197d2dec7f210a84ae49e8498a7::" providerId="AD" clId="Web-{239DA121-B219-84BB-8432-811246FFE42E}" dt="2022-03-28T17:26:20.175" v="288"/>
          <ac:spMkLst>
            <pc:docMk/>
            <pc:sldMk cId="1695560817" sldId="366"/>
            <ac:spMk id="44" creationId="{56526D3C-B7EB-DBA1-3DAF-137E88CC6169}"/>
          </ac:spMkLst>
        </pc:spChg>
        <pc:spChg chg="add">
          <ac:chgData name="Guest User" userId="S::urn:spo:anon#c437c167f923f422528aee73b5e70e5726914197d2dec7f210a84ae49e8498a7::" providerId="AD" clId="Web-{239DA121-B219-84BB-8432-811246FFE42E}" dt="2022-03-28T17:25:25.720" v="189"/>
          <ac:spMkLst>
            <pc:docMk/>
            <pc:sldMk cId="1695560817" sldId="366"/>
            <ac:spMk id="46" creationId="{1E1C1585-D404-40C5-7DD6-1A36C13365DD}"/>
          </ac:spMkLst>
        </pc:spChg>
        <pc:spChg chg="add mod">
          <ac:chgData name="Guest User" userId="S::urn:spo:anon#c437c167f923f422528aee73b5e70e5726914197d2dec7f210a84ae49e8498a7::" providerId="AD" clId="Web-{239DA121-B219-84BB-8432-811246FFE42E}" dt="2022-03-28T17:27:04.504" v="311" actId="20577"/>
          <ac:spMkLst>
            <pc:docMk/>
            <pc:sldMk cId="1695560817" sldId="366"/>
            <ac:spMk id="72" creationId="{2076A5C8-D785-DF79-4D6A-C1A4C3D4A83F}"/>
          </ac:spMkLst>
        </pc:spChg>
        <pc:spChg chg="add del">
          <ac:chgData name="Guest User" userId="S::urn:spo:anon#c437c167f923f422528aee73b5e70e5726914197d2dec7f210a84ae49e8498a7::" providerId="AD" clId="Web-{239DA121-B219-84BB-8432-811246FFE42E}" dt="2022-03-28T17:26:30.660" v="294"/>
          <ac:spMkLst>
            <pc:docMk/>
            <pc:sldMk cId="1695560817" sldId="366"/>
            <ac:spMk id="74" creationId="{F19E7246-8421-D1F0-792D-977F1A3390BD}"/>
          </ac:spMkLst>
        </pc:spChg>
        <pc:spChg chg="add del">
          <ac:chgData name="Guest User" userId="S::urn:spo:anon#c437c167f923f422528aee73b5e70e5726914197d2dec7f210a84ae49e8498a7::" providerId="AD" clId="Web-{239DA121-B219-84BB-8432-811246FFE42E}" dt="2022-03-28T17:26:29.909" v="293"/>
          <ac:spMkLst>
            <pc:docMk/>
            <pc:sldMk cId="1695560817" sldId="366"/>
            <ac:spMk id="76" creationId="{0EA9131E-6239-698E-C0CF-CE2D38479C08}"/>
          </ac:spMkLst>
        </pc:spChg>
        <pc:spChg chg="add mod">
          <ac:chgData name="Guest User" userId="S::urn:spo:anon#c437c167f923f422528aee73b5e70e5726914197d2dec7f210a84ae49e8498a7::" providerId="AD" clId="Web-{239DA121-B219-84BB-8432-811246FFE42E}" dt="2022-03-28T17:26:58.848" v="309" actId="20577"/>
          <ac:spMkLst>
            <pc:docMk/>
            <pc:sldMk cId="1695560817" sldId="366"/>
            <ac:spMk id="78" creationId="{85AA2B18-4964-80D8-597C-B2C0E4AC1A9F}"/>
          </ac:spMkLst>
        </pc:spChg>
        <pc:spChg chg="add del">
          <ac:chgData name="Guest User" userId="S::urn:spo:anon#c437c167f923f422528aee73b5e70e5726914197d2dec7f210a84ae49e8498a7::" providerId="AD" clId="Web-{239DA121-B219-84BB-8432-811246FFE42E}" dt="2022-03-28T17:26:34.238" v="295"/>
          <ac:spMkLst>
            <pc:docMk/>
            <pc:sldMk cId="1695560817" sldId="366"/>
            <ac:spMk id="80" creationId="{AB69B0BE-4443-D2A3-7A02-51A6D44C3455}"/>
          </ac:spMkLst>
        </pc:spChg>
        <pc:spChg chg="add mod">
          <ac:chgData name="Guest User" userId="S::urn:spo:anon#c437c167f923f422528aee73b5e70e5726914197d2dec7f210a84ae49e8498a7::" providerId="AD" clId="Web-{239DA121-B219-84BB-8432-811246FFE42E}" dt="2022-03-28T19:05:30.157" v="695" actId="14100"/>
          <ac:spMkLst>
            <pc:docMk/>
            <pc:sldMk cId="1695560817" sldId="366"/>
            <ac:spMk id="82" creationId="{80579DE7-72B2-533E-1105-2A45C4F95512}"/>
          </ac:spMkLst>
        </pc:spChg>
        <pc:spChg chg="add del">
          <ac:chgData name="Guest User" userId="S::urn:spo:anon#c437c167f923f422528aee73b5e70e5726914197d2dec7f210a84ae49e8498a7::" providerId="AD" clId="Web-{239DA121-B219-84BB-8432-811246FFE42E}" dt="2022-03-28T17:26:34.378" v="296"/>
          <ac:spMkLst>
            <pc:docMk/>
            <pc:sldMk cId="1695560817" sldId="366"/>
            <ac:spMk id="84" creationId="{1BE9F18E-8278-A3CE-2ED0-2AFBF9F61993}"/>
          </ac:spMkLst>
        </pc:spChg>
        <pc:spChg chg="add del">
          <ac:chgData name="Guest User" userId="S::urn:spo:anon#c437c167f923f422528aee73b5e70e5726914197d2dec7f210a84ae49e8498a7::" providerId="AD" clId="Web-{239DA121-B219-84BB-8432-811246FFE42E}" dt="2022-03-28T17:26:34.410" v="297"/>
          <ac:spMkLst>
            <pc:docMk/>
            <pc:sldMk cId="1695560817" sldId="366"/>
            <ac:spMk id="86" creationId="{89D9503F-4FAB-FA71-D050-8623C903AAFF}"/>
          </ac:spMkLst>
        </pc:spChg>
        <pc:spChg chg="add del">
          <ac:chgData name="Guest User" userId="S::urn:spo:anon#c437c167f923f422528aee73b5e70e5726914197d2dec7f210a84ae49e8498a7::" providerId="AD" clId="Web-{239DA121-B219-84BB-8432-811246FFE42E}" dt="2022-03-28T17:26:00.268" v="279"/>
          <ac:spMkLst>
            <pc:docMk/>
            <pc:sldMk cId="1695560817" sldId="366"/>
            <ac:spMk id="88" creationId="{3065F38D-0603-3053-4763-0D3DFAF38084}"/>
          </ac:spMkLst>
        </pc:spChg>
        <pc:spChg chg="add del">
          <ac:chgData name="Guest User" userId="S::urn:spo:anon#c437c167f923f422528aee73b5e70e5726914197d2dec7f210a84ae49e8498a7::" providerId="AD" clId="Web-{239DA121-B219-84BB-8432-811246FFE42E}" dt="2022-03-28T17:26:00.268" v="278"/>
          <ac:spMkLst>
            <pc:docMk/>
            <pc:sldMk cId="1695560817" sldId="366"/>
            <ac:spMk id="90" creationId="{01B7CDB9-A2B1-C31D-A321-980EFF2353BA}"/>
          </ac:spMkLst>
        </pc:spChg>
        <pc:spChg chg="add del">
          <ac:chgData name="Guest User" userId="S::urn:spo:anon#c437c167f923f422528aee73b5e70e5726914197d2dec7f210a84ae49e8498a7::" providerId="AD" clId="Web-{239DA121-B219-84BB-8432-811246FFE42E}" dt="2022-03-28T17:26:00.268" v="276"/>
          <ac:spMkLst>
            <pc:docMk/>
            <pc:sldMk cId="1695560817" sldId="366"/>
            <ac:spMk id="104" creationId="{4EF6146A-708A-D355-6604-2F59B3368AF2}"/>
          </ac:spMkLst>
        </pc:spChg>
        <pc:spChg chg="add del">
          <ac:chgData name="Guest User" userId="S::urn:spo:anon#c437c167f923f422528aee73b5e70e5726914197d2dec7f210a84ae49e8498a7::" providerId="AD" clId="Web-{239DA121-B219-84BB-8432-811246FFE42E}" dt="2022-03-28T17:26:00.268" v="274"/>
          <ac:spMkLst>
            <pc:docMk/>
            <pc:sldMk cId="1695560817" sldId="366"/>
            <ac:spMk id="108" creationId="{E13EC4A2-A64B-4C5B-394B-9E86AEAA346D}"/>
          </ac:spMkLst>
        </pc:spChg>
        <pc:spChg chg="add del">
          <ac:chgData name="Guest User" userId="S::urn:spo:anon#c437c167f923f422528aee73b5e70e5726914197d2dec7f210a84ae49e8498a7::" providerId="AD" clId="Web-{239DA121-B219-84BB-8432-811246FFE42E}" dt="2022-03-28T17:26:00.268" v="273"/>
          <ac:spMkLst>
            <pc:docMk/>
            <pc:sldMk cId="1695560817" sldId="366"/>
            <ac:spMk id="110" creationId="{37F16021-7EAF-FD3E-1846-E5B3DBA9CF2D}"/>
          </ac:spMkLst>
        </pc:spChg>
        <pc:spChg chg="add del">
          <ac:chgData name="Guest User" userId="S::urn:spo:anon#c437c167f923f422528aee73b5e70e5726914197d2dec7f210a84ae49e8498a7::" providerId="AD" clId="Web-{239DA121-B219-84BB-8432-811246FFE42E}" dt="2022-03-28T17:26:00.268" v="272"/>
          <ac:spMkLst>
            <pc:docMk/>
            <pc:sldMk cId="1695560817" sldId="366"/>
            <ac:spMk id="112" creationId="{C7C79A18-A4DD-8B00-1B34-CA4C6F7995CF}"/>
          </ac:spMkLst>
        </pc:spChg>
        <pc:spChg chg="add del">
          <ac:chgData name="Guest User" userId="S::urn:spo:anon#c437c167f923f422528aee73b5e70e5726914197d2dec7f210a84ae49e8498a7::" providerId="AD" clId="Web-{239DA121-B219-84BB-8432-811246FFE42E}" dt="2022-03-28T17:26:00.268" v="271"/>
          <ac:spMkLst>
            <pc:docMk/>
            <pc:sldMk cId="1695560817" sldId="366"/>
            <ac:spMk id="114" creationId="{2DF8126E-ADA2-DDD2-7F38-AC80B91C3D9C}"/>
          </ac:spMkLst>
        </pc:spChg>
        <pc:spChg chg="add del">
          <ac:chgData name="Guest User" userId="S::urn:spo:anon#c437c167f923f422528aee73b5e70e5726914197d2dec7f210a84ae49e8498a7::" providerId="AD" clId="Web-{239DA121-B219-84BB-8432-811246FFE42E}" dt="2022-03-28T17:26:00.268" v="270"/>
          <ac:spMkLst>
            <pc:docMk/>
            <pc:sldMk cId="1695560817" sldId="366"/>
            <ac:spMk id="116" creationId="{7E9705AF-E318-BFAE-1DCD-54D777A97CED}"/>
          </ac:spMkLst>
        </pc:spChg>
        <pc:spChg chg="add del">
          <ac:chgData name="Guest User" userId="S::urn:spo:anon#c437c167f923f422528aee73b5e70e5726914197d2dec7f210a84ae49e8498a7::" providerId="AD" clId="Web-{239DA121-B219-84BB-8432-811246FFE42E}" dt="2022-03-28T17:26:00.268" v="269"/>
          <ac:spMkLst>
            <pc:docMk/>
            <pc:sldMk cId="1695560817" sldId="366"/>
            <ac:spMk id="118" creationId="{BCA16A79-D3AE-62BD-39AD-3533C6B8104A}"/>
          </ac:spMkLst>
        </pc:spChg>
        <pc:spChg chg="add del">
          <ac:chgData name="Guest User" userId="S::urn:spo:anon#c437c167f923f422528aee73b5e70e5726914197d2dec7f210a84ae49e8498a7::" providerId="AD" clId="Web-{239DA121-B219-84BB-8432-811246FFE42E}" dt="2022-03-28T17:26:00.268" v="268"/>
          <ac:spMkLst>
            <pc:docMk/>
            <pc:sldMk cId="1695560817" sldId="366"/>
            <ac:spMk id="120" creationId="{0CD1A307-EE83-04B0-0125-ABF985B30B9D}"/>
          </ac:spMkLst>
        </pc:spChg>
        <pc:spChg chg="add del">
          <ac:chgData name="Guest User" userId="S::urn:spo:anon#c437c167f923f422528aee73b5e70e5726914197d2dec7f210a84ae49e8498a7::" providerId="AD" clId="Web-{239DA121-B219-84BB-8432-811246FFE42E}" dt="2022-03-28T17:26:00.268" v="267"/>
          <ac:spMkLst>
            <pc:docMk/>
            <pc:sldMk cId="1695560817" sldId="366"/>
            <ac:spMk id="122" creationId="{40F2B42B-1905-DC22-4CF4-EDE8047DE703}"/>
          </ac:spMkLst>
        </pc:spChg>
        <pc:spChg chg="add del">
          <ac:chgData name="Guest User" userId="S::urn:spo:anon#c437c167f923f422528aee73b5e70e5726914197d2dec7f210a84ae49e8498a7::" providerId="AD" clId="Web-{239DA121-B219-84BB-8432-811246FFE42E}" dt="2022-03-28T17:26:00.268" v="266"/>
          <ac:spMkLst>
            <pc:docMk/>
            <pc:sldMk cId="1695560817" sldId="366"/>
            <ac:spMk id="124" creationId="{6A911C48-9175-0661-F5B5-467799BF90DC}"/>
          </ac:spMkLst>
        </pc:spChg>
        <pc:spChg chg="add del">
          <ac:chgData name="Guest User" userId="S::urn:spo:anon#c437c167f923f422528aee73b5e70e5726914197d2dec7f210a84ae49e8498a7::" providerId="AD" clId="Web-{239DA121-B219-84BB-8432-811246FFE42E}" dt="2022-03-28T17:26:00.268" v="265"/>
          <ac:spMkLst>
            <pc:docMk/>
            <pc:sldMk cId="1695560817" sldId="366"/>
            <ac:spMk id="126" creationId="{AFBB3774-708D-17E1-67A7-4125D906746A}"/>
          </ac:spMkLst>
        </pc:spChg>
        <pc:spChg chg="add del">
          <ac:chgData name="Guest User" userId="S::urn:spo:anon#c437c167f923f422528aee73b5e70e5726914197d2dec7f210a84ae49e8498a7::" providerId="AD" clId="Web-{239DA121-B219-84BB-8432-811246FFE42E}" dt="2022-03-28T17:26:00.268" v="264"/>
          <ac:spMkLst>
            <pc:docMk/>
            <pc:sldMk cId="1695560817" sldId="366"/>
            <ac:spMk id="128" creationId="{59912742-518A-AB85-6AFB-4A5F13F6E45D}"/>
          </ac:spMkLst>
        </pc:spChg>
        <pc:spChg chg="add del">
          <ac:chgData name="Guest User" userId="S::urn:spo:anon#c437c167f923f422528aee73b5e70e5726914197d2dec7f210a84ae49e8498a7::" providerId="AD" clId="Web-{239DA121-B219-84BB-8432-811246FFE42E}" dt="2022-03-28T17:26:00.268" v="263"/>
          <ac:spMkLst>
            <pc:docMk/>
            <pc:sldMk cId="1695560817" sldId="366"/>
            <ac:spMk id="130" creationId="{F148C3AD-6B91-6749-F47F-62F9C75360D5}"/>
          </ac:spMkLst>
        </pc:spChg>
        <pc:spChg chg="add del">
          <ac:chgData name="Guest User" userId="S::urn:spo:anon#c437c167f923f422528aee73b5e70e5726914197d2dec7f210a84ae49e8498a7::" providerId="AD" clId="Web-{239DA121-B219-84BB-8432-811246FFE42E}" dt="2022-03-28T17:26:00.268" v="262"/>
          <ac:spMkLst>
            <pc:docMk/>
            <pc:sldMk cId="1695560817" sldId="366"/>
            <ac:spMk id="132" creationId="{DB2A6352-B118-3594-8093-D4EE86CF3C3B}"/>
          </ac:spMkLst>
        </pc:spChg>
        <pc:spChg chg="add del">
          <ac:chgData name="Guest User" userId="S::urn:spo:anon#c437c167f923f422528aee73b5e70e5726914197d2dec7f210a84ae49e8498a7::" providerId="AD" clId="Web-{239DA121-B219-84BB-8432-811246FFE42E}" dt="2022-03-28T17:26:00.268" v="261"/>
          <ac:spMkLst>
            <pc:docMk/>
            <pc:sldMk cId="1695560817" sldId="366"/>
            <ac:spMk id="134" creationId="{E50D6AEA-978B-15FD-A917-28BA0D0BA97D}"/>
          </ac:spMkLst>
        </pc:spChg>
        <pc:spChg chg="add del">
          <ac:chgData name="Guest User" userId="S::urn:spo:anon#c437c167f923f422528aee73b5e70e5726914197d2dec7f210a84ae49e8498a7::" providerId="AD" clId="Web-{239DA121-B219-84BB-8432-811246FFE42E}" dt="2022-03-28T17:26:00.268" v="260"/>
          <ac:spMkLst>
            <pc:docMk/>
            <pc:sldMk cId="1695560817" sldId="366"/>
            <ac:spMk id="136" creationId="{09D32D4C-DA41-E7D9-E2CE-6BBEA85069E2}"/>
          </ac:spMkLst>
        </pc:spChg>
        <pc:spChg chg="add del">
          <ac:chgData name="Guest User" userId="S::urn:spo:anon#c437c167f923f422528aee73b5e70e5726914197d2dec7f210a84ae49e8498a7::" providerId="AD" clId="Web-{239DA121-B219-84BB-8432-811246FFE42E}" dt="2022-03-28T17:26:00.268" v="259"/>
          <ac:spMkLst>
            <pc:docMk/>
            <pc:sldMk cId="1695560817" sldId="366"/>
            <ac:spMk id="138" creationId="{29A8204C-E78B-EF34-9141-F011D8A21182}"/>
          </ac:spMkLst>
        </pc:spChg>
        <pc:spChg chg="add del">
          <ac:chgData name="Guest User" userId="S::urn:spo:anon#c437c167f923f422528aee73b5e70e5726914197d2dec7f210a84ae49e8498a7::" providerId="AD" clId="Web-{239DA121-B219-84BB-8432-811246FFE42E}" dt="2022-03-28T17:26:06.346" v="280"/>
          <ac:spMkLst>
            <pc:docMk/>
            <pc:sldMk cId="1695560817" sldId="366"/>
            <ac:spMk id="140" creationId="{FCA20C7A-A116-CBA3-1D06-08CBBAD29E5D}"/>
          </ac:spMkLst>
        </pc:spChg>
        <pc:spChg chg="add del">
          <ac:chgData name="Guest User" userId="S::urn:spo:anon#c437c167f923f422528aee73b5e70e5726914197d2dec7f210a84ae49e8498a7::" providerId="AD" clId="Web-{239DA121-B219-84BB-8432-811246FFE42E}" dt="2022-03-28T17:26:28.816" v="292"/>
          <ac:spMkLst>
            <pc:docMk/>
            <pc:sldMk cId="1695560817" sldId="366"/>
            <ac:spMk id="142" creationId="{0BA076D6-E558-5925-E1DF-CE1AB9933303}"/>
          </ac:spMkLst>
        </pc:spChg>
        <pc:spChg chg="add mod">
          <ac:chgData name="Guest User" userId="S::urn:spo:anon#c437c167f923f422528aee73b5e70e5726914197d2dec7f210a84ae49e8498a7::" providerId="AD" clId="Web-{239DA121-B219-84BB-8432-811246FFE42E}" dt="2022-03-28T17:26:48.582" v="301" actId="1076"/>
          <ac:spMkLst>
            <pc:docMk/>
            <pc:sldMk cId="1695560817" sldId="366"/>
            <ac:spMk id="144" creationId="{B58147B5-8D15-0CDB-3D97-316282865257}"/>
          </ac:spMkLst>
        </pc:spChg>
        <pc:spChg chg="add mod">
          <ac:chgData name="Guest User" userId="S::urn:spo:anon#c437c167f923f422528aee73b5e70e5726914197d2dec7f210a84ae49e8498a7::" providerId="AD" clId="Web-{239DA121-B219-84BB-8432-811246FFE42E}" dt="2022-03-28T17:26:48.613" v="303" actId="1076"/>
          <ac:spMkLst>
            <pc:docMk/>
            <pc:sldMk cId="1695560817" sldId="366"/>
            <ac:spMk id="152" creationId="{D045B593-F7C4-E5A1-A0EE-5FD358E7AB98}"/>
          </ac:spMkLst>
        </pc:spChg>
        <pc:spChg chg="add mod">
          <ac:chgData name="Guest User" userId="S::urn:spo:anon#c437c167f923f422528aee73b5e70e5726914197d2dec7f210a84ae49e8498a7::" providerId="AD" clId="Web-{239DA121-B219-84BB-8432-811246FFE42E}" dt="2022-03-28T17:26:48.629" v="304" actId="1076"/>
          <ac:spMkLst>
            <pc:docMk/>
            <pc:sldMk cId="1695560817" sldId="366"/>
            <ac:spMk id="154" creationId="{78A581DC-04CB-AB07-CF99-5807E41BC636}"/>
          </ac:spMkLst>
        </pc:spChg>
        <pc:spChg chg="add mod">
          <ac:chgData name="Guest User" userId="S::urn:spo:anon#c437c167f923f422528aee73b5e70e5726914197d2dec7f210a84ae49e8498a7::" providerId="AD" clId="Web-{239DA121-B219-84BB-8432-811246FFE42E}" dt="2022-03-28T17:26:48.644" v="306" actId="1076"/>
          <ac:spMkLst>
            <pc:docMk/>
            <pc:sldMk cId="1695560817" sldId="366"/>
            <ac:spMk id="160" creationId="{1B0BBF1C-E120-F159-D550-2E7E2D34401F}"/>
          </ac:spMkLst>
        </pc:spChg>
        <pc:picChg chg="add">
          <ac:chgData name="Guest User" userId="S::urn:spo:anon#c437c167f923f422528aee73b5e70e5726914197d2dec7f210a84ae49e8498a7::" providerId="AD" clId="Web-{239DA121-B219-84BB-8432-811246FFE42E}" dt="2022-03-28T17:25:25.751" v="190"/>
          <ac:picMkLst>
            <pc:docMk/>
            <pc:sldMk cId="1695560817" sldId="366"/>
            <ac:picMk id="48" creationId="{247921FD-8C4D-E554-1B1D-CACD41AF4EB2}"/>
          </ac:picMkLst>
        </pc:picChg>
        <pc:picChg chg="add">
          <ac:chgData name="Guest User" userId="S::urn:spo:anon#c437c167f923f422528aee73b5e70e5726914197d2dec7f210a84ae49e8498a7::" providerId="AD" clId="Web-{239DA121-B219-84BB-8432-811246FFE42E}" dt="2022-03-28T17:25:25.767" v="191"/>
          <ac:picMkLst>
            <pc:docMk/>
            <pc:sldMk cId="1695560817" sldId="366"/>
            <ac:picMk id="50" creationId="{085AC538-8759-5885-5CFF-B2873A0A6DEE}"/>
          </ac:picMkLst>
        </pc:picChg>
        <pc:picChg chg="add">
          <ac:chgData name="Guest User" userId="S::urn:spo:anon#c437c167f923f422528aee73b5e70e5726914197d2dec7f210a84ae49e8498a7::" providerId="AD" clId="Web-{239DA121-B219-84BB-8432-811246FFE42E}" dt="2022-03-28T17:25:26.251" v="216"/>
          <ac:picMkLst>
            <pc:docMk/>
            <pc:sldMk cId="1695560817" sldId="366"/>
            <ac:picMk id="100" creationId="{7C55F817-7127-B9AD-8941-666334782182}"/>
          </ac:picMkLst>
        </pc:picChg>
        <pc:picChg chg="add del">
          <ac:chgData name="Guest User" userId="S::urn:spo:anon#c437c167f923f422528aee73b5e70e5726914197d2dec7f210a84ae49e8498a7::" providerId="AD" clId="Web-{239DA121-B219-84BB-8432-811246FFE42E}" dt="2022-03-28T17:26:00.268" v="275"/>
          <ac:picMkLst>
            <pc:docMk/>
            <pc:sldMk cId="1695560817" sldId="366"/>
            <ac:picMk id="106" creationId="{BF0181C3-311F-004B-EA29-5C794FF3CC16}"/>
          </ac:picMkLst>
        </pc:picChg>
        <pc:cxnChg chg="add">
          <ac:chgData name="Guest User" userId="S::urn:spo:anon#c437c167f923f422528aee73b5e70e5726914197d2dec7f210a84ae49e8498a7::" providerId="AD" clId="Web-{239DA121-B219-84BB-8432-811246FFE42E}" dt="2022-03-28T17:25:25.454" v="169"/>
          <ac:cxnSpMkLst>
            <pc:docMk/>
            <pc:sldMk cId="1695560817" sldId="366"/>
            <ac:cxnSpMk id="6" creationId="{93B44884-CA6C-5AA3-291A-DEE7CBAC1036}"/>
          </ac:cxnSpMkLst>
        </pc:cxnChg>
        <pc:cxnChg chg="add">
          <ac:chgData name="Guest User" userId="S::urn:spo:anon#c437c167f923f422528aee73b5e70e5726914197d2dec7f210a84ae49e8498a7::" providerId="AD" clId="Web-{239DA121-B219-84BB-8432-811246FFE42E}" dt="2022-03-28T17:25:25.783" v="192"/>
          <ac:cxnSpMkLst>
            <pc:docMk/>
            <pc:sldMk cId="1695560817" sldId="366"/>
            <ac:cxnSpMk id="52" creationId="{4B6288B0-2F92-BABF-949C-D41DF2E2967F}"/>
          </ac:cxnSpMkLst>
        </pc:cxnChg>
        <pc:cxnChg chg="add">
          <ac:chgData name="Guest User" userId="S::urn:spo:anon#c437c167f923f422528aee73b5e70e5726914197d2dec7f210a84ae49e8498a7::" providerId="AD" clId="Web-{239DA121-B219-84BB-8432-811246FFE42E}" dt="2022-03-28T17:25:25.798" v="193"/>
          <ac:cxnSpMkLst>
            <pc:docMk/>
            <pc:sldMk cId="1695560817" sldId="366"/>
            <ac:cxnSpMk id="54" creationId="{44C4834B-3B18-7CC0-FDEA-E47378DAF764}"/>
          </ac:cxnSpMkLst>
        </pc:cxnChg>
        <pc:cxnChg chg="add">
          <ac:chgData name="Guest User" userId="S::urn:spo:anon#c437c167f923f422528aee73b5e70e5726914197d2dec7f210a84ae49e8498a7::" providerId="AD" clId="Web-{239DA121-B219-84BB-8432-811246FFE42E}" dt="2022-03-28T17:25:25.814" v="194"/>
          <ac:cxnSpMkLst>
            <pc:docMk/>
            <pc:sldMk cId="1695560817" sldId="366"/>
            <ac:cxnSpMk id="56" creationId="{62555E59-04A5-FFF1-EE9E-8961465F1E1D}"/>
          </ac:cxnSpMkLst>
        </pc:cxnChg>
        <pc:cxnChg chg="add">
          <ac:chgData name="Guest User" userId="S::urn:spo:anon#c437c167f923f422528aee73b5e70e5726914197d2dec7f210a84ae49e8498a7::" providerId="AD" clId="Web-{239DA121-B219-84BB-8432-811246FFE42E}" dt="2022-03-28T17:25:25.829" v="195"/>
          <ac:cxnSpMkLst>
            <pc:docMk/>
            <pc:sldMk cId="1695560817" sldId="366"/>
            <ac:cxnSpMk id="58" creationId="{535ECF66-8691-DE21-C4CE-662C1B8607F9}"/>
          </ac:cxnSpMkLst>
        </pc:cxnChg>
        <pc:cxnChg chg="add">
          <ac:chgData name="Guest User" userId="S::urn:spo:anon#c437c167f923f422528aee73b5e70e5726914197d2dec7f210a84ae49e8498a7::" providerId="AD" clId="Web-{239DA121-B219-84BB-8432-811246FFE42E}" dt="2022-03-28T17:25:25.845" v="196"/>
          <ac:cxnSpMkLst>
            <pc:docMk/>
            <pc:sldMk cId="1695560817" sldId="366"/>
            <ac:cxnSpMk id="60" creationId="{02BE5020-33F7-66E4-4A1C-71874FD6410E}"/>
          </ac:cxnSpMkLst>
        </pc:cxnChg>
        <pc:cxnChg chg="add">
          <ac:chgData name="Guest User" userId="S::urn:spo:anon#c437c167f923f422528aee73b5e70e5726914197d2dec7f210a84ae49e8498a7::" providerId="AD" clId="Web-{239DA121-B219-84BB-8432-811246FFE42E}" dt="2022-03-28T17:25:25.861" v="197"/>
          <ac:cxnSpMkLst>
            <pc:docMk/>
            <pc:sldMk cId="1695560817" sldId="366"/>
            <ac:cxnSpMk id="62" creationId="{63E5A2FA-D102-2F1F-0789-DF98497CD653}"/>
          </ac:cxnSpMkLst>
        </pc:cxnChg>
        <pc:cxnChg chg="add">
          <ac:chgData name="Guest User" userId="S::urn:spo:anon#c437c167f923f422528aee73b5e70e5726914197d2dec7f210a84ae49e8498a7::" providerId="AD" clId="Web-{239DA121-B219-84BB-8432-811246FFE42E}" dt="2022-03-28T17:25:25.876" v="198"/>
          <ac:cxnSpMkLst>
            <pc:docMk/>
            <pc:sldMk cId="1695560817" sldId="366"/>
            <ac:cxnSpMk id="64" creationId="{6F5954C0-39F3-16CC-1C37-0EDB244C7946}"/>
          </ac:cxnSpMkLst>
        </pc:cxnChg>
        <pc:cxnChg chg="add">
          <ac:chgData name="Guest User" userId="S::urn:spo:anon#c437c167f923f422528aee73b5e70e5726914197d2dec7f210a84ae49e8498a7::" providerId="AD" clId="Web-{239DA121-B219-84BB-8432-811246FFE42E}" dt="2022-03-28T17:25:25.892" v="199"/>
          <ac:cxnSpMkLst>
            <pc:docMk/>
            <pc:sldMk cId="1695560817" sldId="366"/>
            <ac:cxnSpMk id="66" creationId="{96C67065-8CD6-E1D8-2668-060B4C39DAC4}"/>
          </ac:cxnSpMkLst>
        </pc:cxnChg>
        <pc:cxnChg chg="add del">
          <ac:chgData name="Guest User" userId="S::urn:spo:anon#c437c167f923f422528aee73b5e70e5726914197d2dec7f210a84ae49e8498a7::" providerId="AD" clId="Web-{239DA121-B219-84BB-8432-811246FFE42E}" dt="2022-03-28T17:26:15.253" v="286"/>
          <ac:cxnSpMkLst>
            <pc:docMk/>
            <pc:sldMk cId="1695560817" sldId="366"/>
            <ac:cxnSpMk id="68" creationId="{952677A3-E648-726A-88CB-47C75967A53A}"/>
          </ac:cxnSpMkLst>
        </pc:cxnChg>
        <pc:cxnChg chg="add">
          <ac:chgData name="Guest User" userId="S::urn:spo:anon#c437c167f923f422528aee73b5e70e5726914197d2dec7f210a84ae49e8498a7::" providerId="AD" clId="Web-{239DA121-B219-84BB-8432-811246FFE42E}" dt="2022-03-28T17:25:25.923" v="201"/>
          <ac:cxnSpMkLst>
            <pc:docMk/>
            <pc:sldMk cId="1695560817" sldId="366"/>
            <ac:cxnSpMk id="70" creationId="{36AB945C-B067-EFEB-F8C0-06799B81FEEF}"/>
          </ac:cxnSpMkLst>
        </pc:cxnChg>
        <pc:cxnChg chg="add">
          <ac:chgData name="Guest User" userId="S::urn:spo:anon#c437c167f923f422528aee73b5e70e5726914197d2dec7f210a84ae49e8498a7::" providerId="AD" clId="Web-{239DA121-B219-84BB-8432-811246FFE42E}" dt="2022-03-28T17:25:26.173" v="212"/>
          <ac:cxnSpMkLst>
            <pc:docMk/>
            <pc:sldMk cId="1695560817" sldId="366"/>
            <ac:cxnSpMk id="92" creationId="{95332B53-DA5E-B171-E911-5630D8D71783}"/>
          </ac:cxnSpMkLst>
        </pc:cxnChg>
        <pc:cxnChg chg="add">
          <ac:chgData name="Guest User" userId="S::urn:spo:anon#c437c167f923f422528aee73b5e70e5726914197d2dec7f210a84ae49e8498a7::" providerId="AD" clId="Web-{239DA121-B219-84BB-8432-811246FFE42E}" dt="2022-03-28T17:25:26.189" v="213"/>
          <ac:cxnSpMkLst>
            <pc:docMk/>
            <pc:sldMk cId="1695560817" sldId="366"/>
            <ac:cxnSpMk id="94" creationId="{60E77512-710D-3C80-18A9-A2DDB839C5F2}"/>
          </ac:cxnSpMkLst>
        </pc:cxnChg>
        <pc:cxnChg chg="add">
          <ac:chgData name="Guest User" userId="S::urn:spo:anon#c437c167f923f422528aee73b5e70e5726914197d2dec7f210a84ae49e8498a7::" providerId="AD" clId="Web-{239DA121-B219-84BB-8432-811246FFE42E}" dt="2022-03-28T17:25:26.204" v="214"/>
          <ac:cxnSpMkLst>
            <pc:docMk/>
            <pc:sldMk cId="1695560817" sldId="366"/>
            <ac:cxnSpMk id="96" creationId="{370D1839-E491-D94C-A901-6D494DA2FE09}"/>
          </ac:cxnSpMkLst>
        </pc:cxnChg>
        <pc:cxnChg chg="add mod">
          <ac:chgData name="Guest User" userId="S::urn:spo:anon#c437c167f923f422528aee73b5e70e5726914197d2dec7f210a84ae49e8498a7::" providerId="AD" clId="Web-{239DA121-B219-84BB-8432-811246FFE42E}" dt="2022-03-28T17:26:48.582" v="300" actId="1076"/>
          <ac:cxnSpMkLst>
            <pc:docMk/>
            <pc:sldMk cId="1695560817" sldId="366"/>
            <ac:cxnSpMk id="98" creationId="{85C2030F-99FB-114D-1D61-89942ADE6DD2}"/>
          </ac:cxnSpMkLst>
        </pc:cxnChg>
        <pc:cxnChg chg="add del">
          <ac:chgData name="Guest User" userId="S::urn:spo:anon#c437c167f923f422528aee73b5e70e5726914197d2dec7f210a84ae49e8498a7::" providerId="AD" clId="Web-{239DA121-B219-84BB-8432-811246FFE42E}" dt="2022-03-28T17:26:00.268" v="277"/>
          <ac:cxnSpMkLst>
            <pc:docMk/>
            <pc:sldMk cId="1695560817" sldId="366"/>
            <ac:cxnSpMk id="102" creationId="{D360A48A-60AB-6CAE-47A4-FD5B9D879929}"/>
          </ac:cxnSpMkLst>
        </pc:cxnChg>
        <pc:cxnChg chg="add">
          <ac:chgData name="Guest User" userId="S::urn:spo:anon#c437c167f923f422528aee73b5e70e5726914197d2dec7f210a84ae49e8498a7::" providerId="AD" clId="Web-{239DA121-B219-84BB-8432-811246FFE42E}" dt="2022-03-28T17:25:26.845" v="239"/>
          <ac:cxnSpMkLst>
            <pc:docMk/>
            <pc:sldMk cId="1695560817" sldId="366"/>
            <ac:cxnSpMk id="146" creationId="{4D364F69-3564-41A7-3EFD-B7D27DFC2072}"/>
          </ac:cxnSpMkLst>
        </pc:cxnChg>
        <pc:cxnChg chg="add mod">
          <ac:chgData name="Guest User" userId="S::urn:spo:anon#c437c167f923f422528aee73b5e70e5726914197d2dec7f210a84ae49e8498a7::" providerId="AD" clId="Web-{239DA121-B219-84BB-8432-811246FFE42E}" dt="2022-03-28T17:26:56.613" v="307" actId="1076"/>
          <ac:cxnSpMkLst>
            <pc:docMk/>
            <pc:sldMk cId="1695560817" sldId="366"/>
            <ac:cxnSpMk id="148" creationId="{B3DF6322-9A6F-5678-45E8-CA5C01B8B47E}"/>
          </ac:cxnSpMkLst>
        </pc:cxnChg>
        <pc:cxnChg chg="add">
          <ac:chgData name="Guest User" userId="S::urn:spo:anon#c437c167f923f422528aee73b5e70e5726914197d2dec7f210a84ae49e8498a7::" providerId="AD" clId="Web-{239DA121-B219-84BB-8432-811246FFE42E}" dt="2022-03-28T17:25:26.892" v="241"/>
          <ac:cxnSpMkLst>
            <pc:docMk/>
            <pc:sldMk cId="1695560817" sldId="366"/>
            <ac:cxnSpMk id="150" creationId="{D49C1234-00B4-FA66-7F6F-4296EED6C78B}"/>
          </ac:cxnSpMkLst>
        </pc:cxnChg>
        <pc:cxnChg chg="add">
          <ac:chgData name="Guest User" userId="S::urn:spo:anon#c437c167f923f422528aee73b5e70e5726914197d2dec7f210a84ae49e8498a7::" providerId="AD" clId="Web-{239DA121-B219-84BB-8432-811246FFE42E}" dt="2022-03-28T17:25:26.986" v="244"/>
          <ac:cxnSpMkLst>
            <pc:docMk/>
            <pc:sldMk cId="1695560817" sldId="366"/>
            <ac:cxnSpMk id="156" creationId="{CAA265DC-3C96-67B2-F5B5-32638EBD5DCB}"/>
          </ac:cxnSpMkLst>
        </pc:cxnChg>
        <pc:cxnChg chg="add mod">
          <ac:chgData name="Guest User" userId="S::urn:spo:anon#c437c167f923f422528aee73b5e70e5726914197d2dec7f210a84ae49e8498a7::" providerId="AD" clId="Web-{239DA121-B219-84BB-8432-811246FFE42E}" dt="2022-03-28T17:26:56.629" v="308" actId="1076"/>
          <ac:cxnSpMkLst>
            <pc:docMk/>
            <pc:sldMk cId="1695560817" sldId="366"/>
            <ac:cxnSpMk id="158" creationId="{296D08FB-F752-2463-4CD2-5BD82CD678B1}"/>
          </ac:cxnSpMkLst>
        </pc:cxnChg>
        <pc:cxnChg chg="add">
          <ac:chgData name="Guest User" userId="S::urn:spo:anon#c437c167f923f422528aee73b5e70e5726914197d2dec7f210a84ae49e8498a7::" providerId="AD" clId="Web-{239DA121-B219-84BB-8432-811246FFE42E}" dt="2022-03-28T17:25:27.080" v="247"/>
          <ac:cxnSpMkLst>
            <pc:docMk/>
            <pc:sldMk cId="1695560817" sldId="366"/>
            <ac:cxnSpMk id="162" creationId="{349F29BE-D19B-F111-BDED-443D0EEE482C}"/>
          </ac:cxnSpMkLst>
        </pc:cxnChg>
        <pc:cxnChg chg="add mod">
          <ac:chgData name="Guest User" userId="S::urn:spo:anon#c437c167f923f422528aee73b5e70e5726914197d2dec7f210a84ae49e8498a7::" providerId="AD" clId="Web-{239DA121-B219-84BB-8432-811246FFE42E}" dt="2022-03-28T17:26:26.284" v="291" actId="1076"/>
          <ac:cxnSpMkLst>
            <pc:docMk/>
            <pc:sldMk cId="1695560817" sldId="366"/>
            <ac:cxnSpMk id="163" creationId="{239D5AB9-9EAB-07FA-6DAA-29766725F05B}"/>
          </ac:cxnSpMkLst>
        </pc:cxnChg>
      </pc:sldChg>
      <pc:sldChg chg="modSp add replId">
        <pc:chgData name="Guest User" userId="S::urn:spo:anon#c437c167f923f422528aee73b5e70e5726914197d2dec7f210a84ae49e8498a7::" providerId="AD" clId="Web-{239DA121-B219-84BB-8432-811246FFE42E}" dt="2022-03-28T17:22:44.512" v="128" actId="20577"/>
        <pc:sldMkLst>
          <pc:docMk/>
          <pc:sldMk cId="3762238417" sldId="367"/>
        </pc:sldMkLst>
        <pc:spChg chg="mod">
          <ac:chgData name="Guest User" userId="S::urn:spo:anon#c437c167f923f422528aee73b5e70e5726914197d2dec7f210a84ae49e8498a7::" providerId="AD" clId="Web-{239DA121-B219-84BB-8432-811246FFE42E}" dt="2022-03-28T17:22:44.512" v="128" actId="20577"/>
          <ac:spMkLst>
            <pc:docMk/>
            <pc:sldMk cId="3762238417" sldId="367"/>
            <ac:spMk id="2" creationId="{AB52A157-2CB8-6DCB-8D3B-00713BF25DCA}"/>
          </ac:spMkLst>
        </pc:spChg>
      </pc:sldChg>
      <pc:sldChg chg="addSp modSp add replId">
        <pc:chgData name="Guest User" userId="S::urn:spo:anon#c437c167f923f422528aee73b5e70e5726914197d2dec7f210a84ae49e8498a7::" providerId="AD" clId="Web-{239DA121-B219-84BB-8432-811246FFE42E}" dt="2022-03-28T18:57:36.473" v="694" actId="1076"/>
        <pc:sldMkLst>
          <pc:docMk/>
          <pc:sldMk cId="2478994861" sldId="368"/>
        </pc:sldMkLst>
        <pc:spChg chg="add mod">
          <ac:chgData name="Guest User" userId="S::urn:spo:anon#c437c167f923f422528aee73b5e70e5726914197d2dec7f210a84ae49e8498a7::" providerId="AD" clId="Web-{239DA121-B219-84BB-8432-811246FFE42E}" dt="2022-03-28T18:57:36.473" v="694" actId="1076"/>
          <ac:spMkLst>
            <pc:docMk/>
            <pc:sldMk cId="2478994861" sldId="368"/>
            <ac:spMk id="2" creationId="{21341976-A30E-8DF4-FA0F-84AB0DCAFE92}"/>
          </ac:spMkLst>
        </pc:spChg>
        <pc:spChg chg="mod">
          <ac:chgData name="Guest User" userId="S::urn:spo:anon#c437c167f923f422528aee73b5e70e5726914197d2dec7f210a84ae49e8498a7::" providerId="AD" clId="Web-{239DA121-B219-84BB-8432-811246FFE42E}" dt="2022-03-28T18:56:25.549" v="601" actId="1076"/>
          <ac:spMkLst>
            <pc:docMk/>
            <pc:sldMk cId="2478994861" sldId="368"/>
            <ac:spMk id="61" creationId="{4BA3EC63-1DC5-486F-98BD-5666DBC31E58}"/>
          </ac:spMkLst>
        </pc:spChg>
        <pc:spChg chg="add mod">
          <ac:chgData name="Guest User" userId="S::urn:spo:anon#c437c167f923f422528aee73b5e70e5726914197d2dec7f210a84ae49e8498a7::" providerId="AD" clId="Web-{239DA121-B219-84BB-8432-811246FFE42E}" dt="2022-03-28T18:56:00.892" v="587" actId="14100"/>
          <ac:spMkLst>
            <pc:docMk/>
            <pc:sldMk cId="2478994861" sldId="368"/>
            <ac:spMk id="62" creationId="{7C38ED33-15FA-DD2F-D2BB-F9CB5C3D7768}"/>
          </ac:spMkLst>
        </pc:spChg>
        <pc:spChg chg="add mod">
          <ac:chgData name="Guest User" userId="S::urn:spo:anon#c437c167f923f422528aee73b5e70e5726914197d2dec7f210a84ae49e8498a7::" providerId="AD" clId="Web-{239DA121-B219-84BB-8432-811246FFE42E}" dt="2022-03-28T18:55:47.955" v="582" actId="20577"/>
          <ac:spMkLst>
            <pc:docMk/>
            <pc:sldMk cId="2478994861" sldId="368"/>
            <ac:spMk id="63" creationId="{CBD92A69-7A92-2A34-B750-58A1C3B80D32}"/>
          </ac:spMkLst>
        </pc:spChg>
        <pc:spChg chg="add mod">
          <ac:chgData name="Guest User" userId="S::urn:spo:anon#c437c167f923f422528aee73b5e70e5726914197d2dec7f210a84ae49e8498a7::" providerId="AD" clId="Web-{239DA121-B219-84BB-8432-811246FFE42E}" dt="2022-03-28T18:56:11.830" v="591" actId="14100"/>
          <ac:spMkLst>
            <pc:docMk/>
            <pc:sldMk cId="2478994861" sldId="368"/>
            <ac:spMk id="64" creationId="{B8A806A1-9412-EE42-CBEB-8403E3D84FAA}"/>
          </ac:spMkLst>
        </pc:spChg>
        <pc:spChg chg="mod">
          <ac:chgData name="Guest User" userId="S::urn:spo:anon#c437c167f923f422528aee73b5e70e5726914197d2dec7f210a84ae49e8498a7::" providerId="AD" clId="Web-{239DA121-B219-84BB-8432-811246FFE42E}" dt="2022-03-28T18:55:57.033" v="586" actId="14100"/>
          <ac:spMkLst>
            <pc:docMk/>
            <pc:sldMk cId="2478994861" sldId="368"/>
            <ac:spMk id="312" creationId="{00000000-0000-0000-0000-000000000000}"/>
          </ac:spMkLst>
        </pc:spChg>
      </pc:sldChg>
    </pc:docChg>
  </pc:docChgLst>
  <pc:docChgLst>
    <pc:chgData name="Guest User" userId="S::urn:spo:anon#c437c167f923f422528aee73b5e70e5726914197d2dec7f210a84ae49e8498a7::" providerId="AD" clId="Web-{BC64E94A-3B8D-DFA7-17C9-EAA2CCD87940}"/>
    <pc:docChg chg="modSld">
      <pc:chgData name="Guest User" userId="S::urn:spo:anon#c437c167f923f422528aee73b5e70e5726914197d2dec7f210a84ae49e8498a7::" providerId="AD" clId="Web-{BC64E94A-3B8D-DFA7-17C9-EAA2CCD87940}" dt="2022-04-04T20:29:14.149" v="5" actId="20577"/>
      <pc:docMkLst>
        <pc:docMk/>
      </pc:docMkLst>
      <pc:sldChg chg="modSp">
        <pc:chgData name="Guest User" userId="S::urn:spo:anon#c437c167f923f422528aee73b5e70e5726914197d2dec7f210a84ae49e8498a7::" providerId="AD" clId="Web-{BC64E94A-3B8D-DFA7-17C9-EAA2CCD87940}" dt="2022-04-04T20:29:14.149" v="5" actId="20577"/>
        <pc:sldMkLst>
          <pc:docMk/>
          <pc:sldMk cId="3762238417" sldId="367"/>
        </pc:sldMkLst>
        <pc:spChg chg="mod">
          <ac:chgData name="Guest User" userId="S::urn:spo:anon#c437c167f923f422528aee73b5e70e5726914197d2dec7f210a84ae49e8498a7::" providerId="AD" clId="Web-{BC64E94A-3B8D-DFA7-17C9-EAA2CCD87940}" dt="2022-04-04T20:29:14.149" v="5" actId="20577"/>
          <ac:spMkLst>
            <pc:docMk/>
            <pc:sldMk cId="3762238417" sldId="367"/>
            <ac:spMk id="3" creationId="{346B9D98-5C00-250F-2E85-76FD3A920D22}"/>
          </ac:spMkLst>
        </pc:spChg>
      </pc:sldChg>
    </pc:docChg>
  </pc:docChgLst>
  <pc:docChgLst>
    <pc:chgData name="Guest User" userId="S::urn:spo:anon#bc72e6c931b442e1b83d9d7baffb28dcb7bee849e2d9a5e2bb7cc25170a1c113::" providerId="AD" clId="Web-{8ECB7763-2331-16D6-E9D3-4C8F962E284A}"/>
    <pc:docChg chg="modSld">
      <pc:chgData name="Guest User" userId="S::urn:spo:anon#bc72e6c931b442e1b83d9d7baffb28dcb7bee849e2d9a5e2bb7cc25170a1c113::" providerId="AD" clId="Web-{8ECB7763-2331-16D6-E9D3-4C8F962E284A}" dt="2022-03-22T16:15:54.663" v="111" actId="20577"/>
      <pc:docMkLst>
        <pc:docMk/>
      </pc:docMkLst>
      <pc:sldChg chg="addSp modSp">
        <pc:chgData name="Guest User" userId="S::urn:spo:anon#bc72e6c931b442e1b83d9d7baffb28dcb7bee849e2d9a5e2bb7cc25170a1c113::" providerId="AD" clId="Web-{8ECB7763-2331-16D6-E9D3-4C8F962E284A}" dt="2022-03-22T16:15:54.663" v="111" actId="20577"/>
        <pc:sldMkLst>
          <pc:docMk/>
          <pc:sldMk cId="2963563579" sldId="348"/>
        </pc:sldMkLst>
        <pc:spChg chg="add mod">
          <ac:chgData name="Guest User" userId="S::urn:spo:anon#bc72e6c931b442e1b83d9d7baffb28dcb7bee849e2d9a5e2bb7cc25170a1c113::" providerId="AD" clId="Web-{8ECB7763-2331-16D6-E9D3-4C8F962E284A}" dt="2022-03-22T16:15:54.663" v="111" actId="20577"/>
          <ac:spMkLst>
            <pc:docMk/>
            <pc:sldMk cId="2963563579" sldId="348"/>
            <ac:spMk id="4" creationId="{7E99DE7C-9F18-B33F-8154-9FB35F971E34}"/>
          </ac:spMkLst>
        </pc:spChg>
        <pc:spChg chg="mod">
          <ac:chgData name="Guest User" userId="S::urn:spo:anon#bc72e6c931b442e1b83d9d7baffb28dcb7bee849e2d9a5e2bb7cc25170a1c113::" providerId="AD" clId="Web-{8ECB7763-2331-16D6-E9D3-4C8F962E284A}" dt="2022-03-22T16:14:47.755" v="94" actId="1076"/>
          <ac:spMkLst>
            <pc:docMk/>
            <pc:sldMk cId="2963563579" sldId="348"/>
            <ac:spMk id="8" creationId="{63314686-1D13-4553-B700-6ED15E618005}"/>
          </ac:spMkLst>
        </pc:spChg>
        <pc:spChg chg="add mod">
          <ac:chgData name="Guest User" userId="S::urn:spo:anon#bc72e6c931b442e1b83d9d7baffb28dcb7bee849e2d9a5e2bb7cc25170a1c113::" providerId="AD" clId="Web-{8ECB7763-2331-16D6-E9D3-4C8F962E284A}" dt="2022-03-22T16:15:49.273" v="107" actId="1076"/>
          <ac:spMkLst>
            <pc:docMk/>
            <pc:sldMk cId="2963563579" sldId="348"/>
            <ac:spMk id="16" creationId="{F6466A26-FAF8-4506-3FF0-3EF6BF3C065A}"/>
          </ac:spMkLst>
        </pc:spChg>
        <pc:spChg chg="mod">
          <ac:chgData name="Guest User" userId="S::urn:spo:anon#bc72e6c931b442e1b83d9d7baffb28dcb7bee849e2d9a5e2bb7cc25170a1c113::" providerId="AD" clId="Web-{8ECB7763-2331-16D6-E9D3-4C8F962E284A}" dt="2022-03-22T16:10:51.608" v="3" actId="20577"/>
          <ac:spMkLst>
            <pc:docMk/>
            <pc:sldMk cId="2963563579" sldId="348"/>
            <ac:spMk id="601" creationId="{00000000-0000-0000-0000-000000000000}"/>
          </ac:spMkLst>
        </pc:spChg>
      </pc:sldChg>
    </pc:docChg>
  </pc:docChgLst>
  <pc:docChgLst>
    <pc:chgData name="Guest User" userId="S::urn:spo:anon#c437c167f923f422528aee73b5e70e5726914197d2dec7f210a84ae49e8498a7::" providerId="AD" clId="Web-{10933326-DD8E-C291-341C-4F569D9A37AB}"/>
    <pc:docChg chg="modSld">
      <pc:chgData name="Guest User" userId="S::urn:spo:anon#c437c167f923f422528aee73b5e70e5726914197d2dec7f210a84ae49e8498a7::" providerId="AD" clId="Web-{10933326-DD8E-C291-341C-4F569D9A37AB}" dt="2022-04-05T17:44:02.009" v="4"/>
      <pc:docMkLst>
        <pc:docMk/>
      </pc:docMkLst>
      <pc:sldChg chg="addSp delSp modSp">
        <pc:chgData name="Guest User" userId="S::urn:spo:anon#c437c167f923f422528aee73b5e70e5726914197d2dec7f210a84ae49e8498a7::" providerId="AD" clId="Web-{10933326-DD8E-C291-341C-4F569D9A37AB}" dt="2022-04-05T17:44:02.009" v="4"/>
        <pc:sldMkLst>
          <pc:docMk/>
          <pc:sldMk cId="3117050842" sldId="377"/>
        </pc:sldMkLst>
        <pc:spChg chg="add del">
          <ac:chgData name="Guest User" userId="S::urn:spo:anon#c437c167f923f422528aee73b5e70e5726914197d2dec7f210a84ae49e8498a7::" providerId="AD" clId="Web-{10933326-DD8E-C291-341C-4F569D9A37AB}" dt="2022-04-05T17:43:25.368" v="2"/>
          <ac:spMkLst>
            <pc:docMk/>
            <pc:sldMk cId="3117050842" sldId="377"/>
            <ac:spMk id="9" creationId="{952D7F88-DA15-8DE3-1E26-45AD38C9E313}"/>
          </ac:spMkLst>
        </pc:spChg>
        <pc:picChg chg="mod">
          <ac:chgData name="Guest User" userId="S::urn:spo:anon#c437c167f923f422528aee73b5e70e5726914197d2dec7f210a84ae49e8498a7::" providerId="AD" clId="Web-{10933326-DD8E-C291-341C-4F569D9A37AB}" dt="2022-04-05T17:44:02.009" v="4"/>
          <ac:picMkLst>
            <pc:docMk/>
            <pc:sldMk cId="3117050842" sldId="377"/>
            <ac:picMk id="3" creationId="{D0703C0D-B8EB-60B3-A27C-B0A7EBD2B65C}"/>
          </ac:picMkLst>
        </pc:picChg>
      </pc:sldChg>
    </pc:docChg>
  </pc:docChgLst>
  <pc:docChgLst>
    <pc:chgData name="Guest User" userId="S::urn:spo:anon#bc72e6c931b442e1b83d9d7baffb28dcb7bee849e2d9a5e2bb7cc25170a1c113::" providerId="AD" clId="Web-{632CF791-02D6-1856-7DE2-E8C33EF8D388}"/>
    <pc:docChg chg="addSld delSld modSld">
      <pc:chgData name="Guest User" userId="S::urn:spo:anon#bc72e6c931b442e1b83d9d7baffb28dcb7bee849e2d9a5e2bb7cc25170a1c113::" providerId="AD" clId="Web-{632CF791-02D6-1856-7DE2-E8C33EF8D388}" dt="2022-03-22T18:37:59.340" v="427" actId="14100"/>
      <pc:docMkLst>
        <pc:docMk/>
      </pc:docMkLst>
      <pc:sldChg chg="modSp">
        <pc:chgData name="Guest User" userId="S::urn:spo:anon#bc72e6c931b442e1b83d9d7baffb28dcb7bee849e2d9a5e2bb7cc25170a1c113::" providerId="AD" clId="Web-{632CF791-02D6-1856-7DE2-E8C33EF8D388}" dt="2022-03-22T16:06:42.640" v="0" actId="1076"/>
        <pc:sldMkLst>
          <pc:docMk/>
          <pc:sldMk cId="0" sldId="259"/>
        </pc:sldMkLst>
        <pc:spChg chg="mod">
          <ac:chgData name="Guest User" userId="S::urn:spo:anon#bc72e6c931b442e1b83d9d7baffb28dcb7bee849e2d9a5e2bb7cc25170a1c113::" providerId="AD" clId="Web-{632CF791-02D6-1856-7DE2-E8C33EF8D388}" dt="2022-03-22T16:06:42.640" v="0" actId="1076"/>
          <ac:spMkLst>
            <pc:docMk/>
            <pc:sldMk cId="0" sldId="259"/>
            <ac:spMk id="318" creationId="{00000000-0000-0000-0000-000000000000}"/>
          </ac:spMkLst>
        </pc:spChg>
      </pc:sldChg>
      <pc:sldChg chg="addSp">
        <pc:chgData name="Guest User" userId="S::urn:spo:anon#bc72e6c931b442e1b83d9d7baffb28dcb7bee849e2d9a5e2bb7cc25170a1c113::" providerId="AD" clId="Web-{632CF791-02D6-1856-7DE2-E8C33EF8D388}" dt="2022-03-22T16:06:59.125" v="3"/>
        <pc:sldMkLst>
          <pc:docMk/>
          <pc:sldMk cId="0" sldId="260"/>
        </pc:sldMkLst>
        <pc:spChg chg="add">
          <ac:chgData name="Guest User" userId="S::urn:spo:anon#bc72e6c931b442e1b83d9d7baffb28dcb7bee849e2d9a5e2bb7cc25170a1c113::" providerId="AD" clId="Web-{632CF791-02D6-1856-7DE2-E8C33EF8D388}" dt="2022-03-22T16:06:59.125" v="3"/>
          <ac:spMkLst>
            <pc:docMk/>
            <pc:sldMk cId="0" sldId="260"/>
            <ac:spMk id="2" creationId="{F23191FC-7B29-89F5-21F1-7FF0E32525D9}"/>
          </ac:spMkLst>
        </pc:spChg>
      </pc:sldChg>
      <pc:sldChg chg="addSp">
        <pc:chgData name="Guest User" userId="S::urn:spo:anon#bc72e6c931b442e1b83d9d7baffb28dcb7bee849e2d9a5e2bb7cc25170a1c113::" providerId="AD" clId="Web-{632CF791-02D6-1856-7DE2-E8C33EF8D388}" dt="2022-03-22T16:07:04.094" v="4"/>
        <pc:sldMkLst>
          <pc:docMk/>
          <pc:sldMk cId="0" sldId="263"/>
        </pc:sldMkLst>
        <pc:spChg chg="add">
          <ac:chgData name="Guest User" userId="S::urn:spo:anon#bc72e6c931b442e1b83d9d7baffb28dcb7bee849e2d9a5e2bb7cc25170a1c113::" providerId="AD" clId="Web-{632CF791-02D6-1856-7DE2-E8C33EF8D388}" dt="2022-03-22T16:07:04.094" v="4"/>
          <ac:spMkLst>
            <pc:docMk/>
            <pc:sldMk cId="0" sldId="263"/>
            <ac:spMk id="2" creationId="{820A4734-2A64-812C-44F5-9C35D9905FB2}"/>
          </ac:spMkLst>
        </pc:spChg>
      </pc:sldChg>
      <pc:sldChg chg="addSp modSp">
        <pc:chgData name="Guest User" userId="S::urn:spo:anon#bc72e6c931b442e1b83d9d7baffb28dcb7bee849e2d9a5e2bb7cc25170a1c113::" providerId="AD" clId="Web-{632CF791-02D6-1856-7DE2-E8C33EF8D388}" dt="2022-03-22T18:27:27.015" v="415" actId="1076"/>
        <pc:sldMkLst>
          <pc:docMk/>
          <pc:sldMk cId="0" sldId="264"/>
        </pc:sldMkLst>
        <pc:spChg chg="mod">
          <ac:chgData name="Guest User" userId="S::urn:spo:anon#bc72e6c931b442e1b83d9d7baffb28dcb7bee849e2d9a5e2bb7cc25170a1c113::" providerId="AD" clId="Web-{632CF791-02D6-1856-7DE2-E8C33EF8D388}" dt="2022-03-22T18:27:26.935" v="414" actId="1076"/>
          <ac:spMkLst>
            <pc:docMk/>
            <pc:sldMk cId="0" sldId="264"/>
            <ac:spMk id="26" creationId="{63D5B65A-793E-4E79-B52C-834340BABD85}"/>
          </ac:spMkLst>
        </pc:spChg>
        <pc:spChg chg="mod">
          <ac:chgData name="Guest User" userId="S::urn:spo:anon#bc72e6c931b442e1b83d9d7baffb28dcb7bee849e2d9a5e2bb7cc25170a1c113::" providerId="AD" clId="Web-{632CF791-02D6-1856-7DE2-E8C33EF8D388}" dt="2022-03-22T18:27:23.357" v="413" actId="1076"/>
          <ac:spMkLst>
            <pc:docMk/>
            <pc:sldMk cId="0" sldId="264"/>
            <ac:spMk id="29" creationId="{CE4534C1-122C-4584-960F-B0117C9A488A}"/>
          </ac:spMkLst>
        </pc:spChg>
        <pc:spChg chg="mod">
          <ac:chgData name="Guest User" userId="S::urn:spo:anon#bc72e6c931b442e1b83d9d7baffb28dcb7bee849e2d9a5e2bb7cc25170a1c113::" providerId="AD" clId="Web-{632CF791-02D6-1856-7DE2-E8C33EF8D388}" dt="2022-03-22T18:27:27.015" v="415" actId="1076"/>
          <ac:spMkLst>
            <pc:docMk/>
            <pc:sldMk cId="0" sldId="264"/>
            <ac:spMk id="30" creationId="{100AEE39-1F64-4466-ACEE-5B01ED088536}"/>
          </ac:spMkLst>
        </pc:spChg>
        <pc:spChg chg="mod">
          <ac:chgData name="Guest User" userId="S::urn:spo:anon#bc72e6c931b442e1b83d9d7baffb28dcb7bee849e2d9a5e2bb7cc25170a1c113::" providerId="AD" clId="Web-{632CF791-02D6-1856-7DE2-E8C33EF8D388}" dt="2022-03-22T16:07:17.391" v="5" actId="14100"/>
          <ac:spMkLst>
            <pc:docMk/>
            <pc:sldMk cId="0" sldId="264"/>
            <ac:spMk id="472" creationId="{00000000-0000-0000-0000-000000000000}"/>
          </ac:spMkLst>
        </pc:spChg>
        <pc:grpChg chg="mod">
          <ac:chgData name="Guest User" userId="S::urn:spo:anon#bc72e6c931b442e1b83d9d7baffb28dcb7bee849e2d9a5e2bb7cc25170a1c113::" providerId="AD" clId="Web-{632CF791-02D6-1856-7DE2-E8C33EF8D388}" dt="2022-03-22T16:36:40.565" v="369" actId="1076"/>
          <ac:grpSpMkLst>
            <pc:docMk/>
            <pc:sldMk cId="0" sldId="264"/>
            <ac:grpSpMk id="71" creationId="{6AE99249-61B0-4010-A9C3-CCC1E2A6D758}"/>
          </ac:grpSpMkLst>
        </pc:grpChg>
        <pc:grpChg chg="mod">
          <ac:chgData name="Guest User" userId="S::urn:spo:anon#bc72e6c931b442e1b83d9d7baffb28dcb7bee849e2d9a5e2bb7cc25170a1c113::" providerId="AD" clId="Web-{632CF791-02D6-1856-7DE2-E8C33EF8D388}" dt="2022-03-22T16:36:32.377" v="365" actId="1076"/>
          <ac:grpSpMkLst>
            <pc:docMk/>
            <pc:sldMk cId="0" sldId="264"/>
            <ac:grpSpMk id="75" creationId="{2F4C0EEE-B2A5-4F5F-BA6D-5346F5BDD0C0}"/>
          </ac:grpSpMkLst>
        </pc:grpChg>
        <pc:grpChg chg="mod">
          <ac:chgData name="Guest User" userId="S::urn:spo:anon#bc72e6c931b442e1b83d9d7baffb28dcb7bee849e2d9a5e2bb7cc25170a1c113::" providerId="AD" clId="Web-{632CF791-02D6-1856-7DE2-E8C33EF8D388}" dt="2022-03-22T16:09:01.300" v="42" actId="1076"/>
          <ac:grpSpMkLst>
            <pc:docMk/>
            <pc:sldMk cId="0" sldId="264"/>
            <ac:grpSpMk id="78" creationId="{F7502587-5DE6-406D-9E54-BB691FC4A86F}"/>
          </ac:grpSpMkLst>
        </pc:grpChg>
        <pc:graphicFrameChg chg="mod modGraphic">
          <ac:chgData name="Guest User" userId="S::urn:spo:anon#bc72e6c931b442e1b83d9d7baffb28dcb7bee849e2d9a5e2bb7cc25170a1c113::" providerId="AD" clId="Web-{632CF791-02D6-1856-7DE2-E8C33EF8D388}" dt="2022-03-22T16:36:40.549" v="368" actId="1076"/>
          <ac:graphicFrameMkLst>
            <pc:docMk/>
            <pc:sldMk cId="0" sldId="264"/>
            <ac:graphicFrameMk id="488" creationId="{00000000-0000-0000-0000-000000000000}"/>
          </ac:graphicFrameMkLst>
        </pc:graphicFrameChg>
        <pc:cxnChg chg="add mod">
          <ac:chgData name="Guest User" userId="S::urn:spo:anon#bc72e6c931b442e1b83d9d7baffb28dcb7bee849e2d9a5e2bb7cc25170a1c113::" providerId="AD" clId="Web-{632CF791-02D6-1856-7DE2-E8C33EF8D388}" dt="2022-03-22T16:09:39.770" v="52" actId="14100"/>
          <ac:cxnSpMkLst>
            <pc:docMk/>
            <pc:sldMk cId="0" sldId="264"/>
            <ac:cxnSpMk id="23" creationId="{7D7890BD-07EE-C7A8-3130-5C4B3C280C68}"/>
          </ac:cxnSpMkLst>
        </pc:cxnChg>
        <pc:cxnChg chg="add mod">
          <ac:chgData name="Guest User" userId="S::urn:spo:anon#bc72e6c931b442e1b83d9d7baffb28dcb7bee849e2d9a5e2bb7cc25170a1c113::" providerId="AD" clId="Web-{632CF791-02D6-1856-7DE2-E8C33EF8D388}" dt="2022-03-22T16:36:40.596" v="371" actId="1076"/>
          <ac:cxnSpMkLst>
            <pc:docMk/>
            <pc:sldMk cId="0" sldId="264"/>
            <ac:cxnSpMk id="24" creationId="{9895C561-40F6-FFF0-1D13-CF25703C5BED}"/>
          </ac:cxnSpMkLst>
        </pc:cxnChg>
        <pc:cxnChg chg="mod">
          <ac:chgData name="Guest User" userId="S::urn:spo:anon#bc72e6c931b442e1b83d9d7baffb28dcb7bee849e2d9a5e2bb7cc25170a1c113::" providerId="AD" clId="Web-{632CF791-02D6-1856-7DE2-E8C33EF8D388}" dt="2022-03-22T16:09:37.020" v="51" actId="14100"/>
          <ac:cxnSpMkLst>
            <pc:docMk/>
            <pc:sldMk cId="0" sldId="264"/>
            <ac:cxnSpMk id="83" creationId="{8A2F6C26-81D3-43E5-B4BE-4DD32D42E75D}"/>
          </ac:cxnSpMkLst>
        </pc:cxnChg>
        <pc:cxnChg chg="mod">
          <ac:chgData name="Guest User" userId="S::urn:spo:anon#bc72e6c931b442e1b83d9d7baffb28dcb7bee849e2d9a5e2bb7cc25170a1c113::" providerId="AD" clId="Web-{632CF791-02D6-1856-7DE2-E8C33EF8D388}" dt="2022-03-22T16:36:35.627" v="367" actId="1076"/>
          <ac:cxnSpMkLst>
            <pc:docMk/>
            <pc:sldMk cId="0" sldId="264"/>
            <ac:cxnSpMk id="84" creationId="{AC6210DF-562A-41C9-9E37-6F2588D8CA5A}"/>
          </ac:cxnSpMkLst>
        </pc:cxnChg>
      </pc:sldChg>
      <pc:sldChg chg="delSp modSp">
        <pc:chgData name="Guest User" userId="S::urn:spo:anon#bc72e6c931b442e1b83d9d7baffb28dcb7bee849e2d9a5e2bb7cc25170a1c113::" providerId="AD" clId="Web-{632CF791-02D6-1856-7DE2-E8C33EF8D388}" dt="2022-03-22T16:27:58.019" v="213"/>
        <pc:sldMkLst>
          <pc:docMk/>
          <pc:sldMk cId="0" sldId="267"/>
        </pc:sldMkLst>
        <pc:spChg chg="mod">
          <ac:chgData name="Guest User" userId="S::urn:spo:anon#bc72e6c931b442e1b83d9d7baffb28dcb7bee849e2d9a5e2bb7cc25170a1c113::" providerId="AD" clId="Web-{632CF791-02D6-1856-7DE2-E8C33EF8D388}" dt="2022-03-22T16:27:02.440" v="206" actId="1076"/>
          <ac:spMkLst>
            <pc:docMk/>
            <pc:sldMk cId="0" sldId="267"/>
            <ac:spMk id="6" creationId="{D1B67900-A55A-49E3-9F1F-6FA28D277895}"/>
          </ac:spMkLst>
        </pc:spChg>
        <pc:spChg chg="del mod">
          <ac:chgData name="Guest User" userId="S::urn:spo:anon#bc72e6c931b442e1b83d9d7baffb28dcb7bee849e2d9a5e2bb7cc25170a1c113::" providerId="AD" clId="Web-{632CF791-02D6-1856-7DE2-E8C33EF8D388}" dt="2022-03-22T16:27:58.019" v="213"/>
          <ac:spMkLst>
            <pc:docMk/>
            <pc:sldMk cId="0" sldId="267"/>
            <ac:spMk id="17" creationId="{BB2D6A27-8F31-491A-B5A6-20002BA01917}"/>
          </ac:spMkLst>
        </pc:spChg>
        <pc:spChg chg="mod">
          <ac:chgData name="Guest User" userId="S::urn:spo:anon#bc72e6c931b442e1b83d9d7baffb28dcb7bee849e2d9a5e2bb7cc25170a1c113::" providerId="AD" clId="Web-{632CF791-02D6-1856-7DE2-E8C33EF8D388}" dt="2022-03-22T16:27:00.236" v="205" actId="14100"/>
          <ac:spMkLst>
            <pc:docMk/>
            <pc:sldMk cId="0" sldId="267"/>
            <ac:spMk id="579" creationId="{00000000-0000-0000-0000-000000000000}"/>
          </ac:spMkLst>
        </pc:spChg>
        <pc:picChg chg="mod modCrop">
          <ac:chgData name="Guest User" userId="S::urn:spo:anon#bc72e6c931b442e1b83d9d7baffb28dcb7bee849e2d9a5e2bb7cc25170a1c113::" providerId="AD" clId="Web-{632CF791-02D6-1856-7DE2-E8C33EF8D388}" dt="2022-03-22T16:27:29.534" v="212" actId="1076"/>
          <ac:picMkLst>
            <pc:docMk/>
            <pc:sldMk cId="0" sldId="267"/>
            <ac:picMk id="4" creationId="{E963C357-8F83-411B-B523-2791ED6459DC}"/>
          </ac:picMkLst>
        </pc:picChg>
      </pc:sldChg>
      <pc:sldChg chg="modSp">
        <pc:chgData name="Guest User" userId="S::urn:spo:anon#bc72e6c931b442e1b83d9d7baffb28dcb7bee849e2d9a5e2bb7cc25170a1c113::" providerId="AD" clId="Web-{632CF791-02D6-1856-7DE2-E8C33EF8D388}" dt="2022-03-22T16:44:39.875" v="401" actId="20577"/>
        <pc:sldMkLst>
          <pc:docMk/>
          <pc:sldMk cId="0" sldId="269"/>
        </pc:sldMkLst>
        <pc:spChg chg="mod">
          <ac:chgData name="Guest User" userId="S::urn:spo:anon#bc72e6c931b442e1b83d9d7baffb28dcb7bee849e2d9a5e2bb7cc25170a1c113::" providerId="AD" clId="Web-{632CF791-02D6-1856-7DE2-E8C33EF8D388}" dt="2022-03-22T16:21:49.056" v="150"/>
          <ac:spMkLst>
            <pc:docMk/>
            <pc:sldMk cId="0" sldId="269"/>
            <ac:spMk id="601" creationId="{00000000-0000-0000-0000-000000000000}"/>
          </ac:spMkLst>
        </pc:spChg>
        <pc:spChg chg="mod">
          <ac:chgData name="Guest User" userId="S::urn:spo:anon#bc72e6c931b442e1b83d9d7baffb28dcb7bee849e2d9a5e2bb7cc25170a1c113::" providerId="AD" clId="Web-{632CF791-02D6-1856-7DE2-E8C33EF8D388}" dt="2022-03-22T16:44:39.875" v="401" actId="20577"/>
          <ac:spMkLst>
            <pc:docMk/>
            <pc:sldMk cId="0" sldId="269"/>
            <ac:spMk id="605" creationId="{00000000-0000-0000-0000-000000000000}"/>
          </ac:spMkLst>
        </pc:spChg>
        <pc:spChg chg="mod">
          <ac:chgData name="Guest User" userId="S::urn:spo:anon#bc72e6c931b442e1b83d9d7baffb28dcb7bee849e2d9a5e2bb7cc25170a1c113::" providerId="AD" clId="Web-{632CF791-02D6-1856-7DE2-E8C33EF8D388}" dt="2022-03-22T16:20:30.491" v="132" actId="1076"/>
          <ac:spMkLst>
            <pc:docMk/>
            <pc:sldMk cId="0" sldId="269"/>
            <ac:spMk id="609" creationId="{00000000-0000-0000-0000-000000000000}"/>
          </ac:spMkLst>
        </pc:spChg>
        <pc:picChg chg="mod modCrop">
          <ac:chgData name="Guest User" userId="S::urn:spo:anon#bc72e6c931b442e1b83d9d7baffb28dcb7bee849e2d9a5e2bb7cc25170a1c113::" providerId="AD" clId="Web-{632CF791-02D6-1856-7DE2-E8C33EF8D388}" dt="2022-03-22T16:21:11.430" v="144" actId="1076"/>
          <ac:picMkLst>
            <pc:docMk/>
            <pc:sldMk cId="0" sldId="269"/>
            <ac:picMk id="4" creationId="{A3DE1E23-4D91-4A14-B3F7-C67C5D0DD7A5}"/>
          </ac:picMkLst>
        </pc:picChg>
        <pc:picChg chg="mod modCrop">
          <ac:chgData name="Guest User" userId="S::urn:spo:anon#bc72e6c931b442e1b83d9d7baffb28dcb7bee849e2d9a5e2bb7cc25170a1c113::" providerId="AD" clId="Web-{632CF791-02D6-1856-7DE2-E8C33EF8D388}" dt="2022-03-22T16:21:22.305" v="147" actId="1076"/>
          <ac:picMkLst>
            <pc:docMk/>
            <pc:sldMk cId="0" sldId="269"/>
            <ac:picMk id="5" creationId="{9E943CF7-D578-4861-B11C-4ED484043137}"/>
          </ac:picMkLst>
        </pc:picChg>
        <pc:picChg chg="mod modCrop">
          <ac:chgData name="Guest User" userId="S::urn:spo:anon#bc72e6c931b442e1b83d9d7baffb28dcb7bee849e2d9a5e2bb7cc25170a1c113::" providerId="AD" clId="Web-{632CF791-02D6-1856-7DE2-E8C33EF8D388}" dt="2022-03-22T16:21:16.602" v="146" actId="1076"/>
          <ac:picMkLst>
            <pc:docMk/>
            <pc:sldMk cId="0" sldId="269"/>
            <ac:picMk id="6" creationId="{7320460E-7625-44AD-8A44-09D8797A39CC}"/>
          </ac:picMkLst>
        </pc:picChg>
      </pc:sldChg>
      <pc:sldChg chg="modSp">
        <pc:chgData name="Guest User" userId="S::urn:spo:anon#bc72e6c931b442e1b83d9d7baffb28dcb7bee849e2d9a5e2bb7cc25170a1c113::" providerId="AD" clId="Web-{632CF791-02D6-1856-7DE2-E8C33EF8D388}" dt="2022-03-22T16:31:05.212" v="274"/>
        <pc:sldMkLst>
          <pc:docMk/>
          <pc:sldMk cId="0" sldId="275"/>
        </pc:sldMkLst>
        <pc:graphicFrameChg chg="mod modGraphic">
          <ac:chgData name="Guest User" userId="S::urn:spo:anon#bc72e6c931b442e1b83d9d7baffb28dcb7bee849e2d9a5e2bb7cc25170a1c113::" providerId="AD" clId="Web-{632CF791-02D6-1856-7DE2-E8C33EF8D388}" dt="2022-03-22T16:31:05.212" v="274"/>
          <ac:graphicFrameMkLst>
            <pc:docMk/>
            <pc:sldMk cId="0" sldId="275"/>
            <ac:graphicFrameMk id="694" creationId="{00000000-0000-0000-0000-000000000000}"/>
          </ac:graphicFrameMkLst>
        </pc:graphicFrameChg>
      </pc:sldChg>
      <pc:sldChg chg="addSp">
        <pc:chgData name="Guest User" userId="S::urn:spo:anon#bc72e6c931b442e1b83d9d7baffb28dcb7bee849e2d9a5e2bb7cc25170a1c113::" providerId="AD" clId="Web-{632CF791-02D6-1856-7DE2-E8C33EF8D388}" dt="2022-03-22T16:46:46.300" v="412"/>
        <pc:sldMkLst>
          <pc:docMk/>
          <pc:sldMk cId="0" sldId="276"/>
        </pc:sldMkLst>
        <pc:spChg chg="add">
          <ac:chgData name="Guest User" userId="S::urn:spo:anon#bc72e6c931b442e1b83d9d7baffb28dcb7bee849e2d9a5e2bb7cc25170a1c113::" providerId="AD" clId="Web-{632CF791-02D6-1856-7DE2-E8C33EF8D388}" dt="2022-03-22T16:46:46.300" v="412"/>
          <ac:spMkLst>
            <pc:docMk/>
            <pc:sldMk cId="0" sldId="276"/>
            <ac:spMk id="2" creationId="{218A2BF7-C208-A0CB-E88F-A3CA5FD0CE37}"/>
          </ac:spMkLst>
        </pc:spChg>
      </pc:sldChg>
      <pc:sldChg chg="modSp">
        <pc:chgData name="Guest User" userId="S::urn:spo:anon#bc72e6c931b442e1b83d9d7baffb28dcb7bee849e2d9a5e2bb7cc25170a1c113::" providerId="AD" clId="Web-{632CF791-02D6-1856-7DE2-E8C33EF8D388}" dt="2022-03-22T18:37:59.340" v="427" actId="14100"/>
        <pc:sldMkLst>
          <pc:docMk/>
          <pc:sldMk cId="0" sldId="280"/>
        </pc:sldMkLst>
        <pc:spChg chg="mod">
          <ac:chgData name="Guest User" userId="S::urn:spo:anon#bc72e6c931b442e1b83d9d7baffb28dcb7bee849e2d9a5e2bb7cc25170a1c113::" providerId="AD" clId="Web-{632CF791-02D6-1856-7DE2-E8C33EF8D388}" dt="2022-03-22T16:35:13.156" v="354" actId="1076"/>
          <ac:spMkLst>
            <pc:docMk/>
            <pc:sldMk cId="0" sldId="280"/>
            <ac:spMk id="6" creationId="{6A68D443-75E1-4EF8-BC52-690836319788}"/>
          </ac:spMkLst>
        </pc:spChg>
        <pc:spChg chg="mod">
          <ac:chgData name="Guest User" userId="S::urn:spo:anon#bc72e6c931b442e1b83d9d7baffb28dcb7bee849e2d9a5e2bb7cc25170a1c113::" providerId="AD" clId="Web-{632CF791-02D6-1856-7DE2-E8C33EF8D388}" dt="2022-03-22T18:37:59.340" v="427" actId="14100"/>
          <ac:spMkLst>
            <pc:docMk/>
            <pc:sldMk cId="0" sldId="280"/>
            <ac:spMk id="863" creationId="{00000000-0000-0000-0000-000000000000}"/>
          </ac:spMkLst>
        </pc:spChg>
        <pc:graphicFrameChg chg="mod modGraphic">
          <ac:chgData name="Guest User" userId="S::urn:spo:anon#bc72e6c931b442e1b83d9d7baffb28dcb7bee849e2d9a5e2bb7cc25170a1c113::" providerId="AD" clId="Web-{632CF791-02D6-1856-7DE2-E8C33EF8D388}" dt="2022-03-22T16:43:39.904" v="391"/>
          <ac:graphicFrameMkLst>
            <pc:docMk/>
            <pc:sldMk cId="0" sldId="280"/>
            <ac:graphicFrameMk id="858" creationId="{00000000-0000-0000-0000-000000000000}"/>
          </ac:graphicFrameMkLst>
        </pc:graphicFrameChg>
        <pc:picChg chg="mod">
          <ac:chgData name="Guest User" userId="S::urn:spo:anon#bc72e6c931b442e1b83d9d7baffb28dcb7bee849e2d9a5e2bb7cc25170a1c113::" providerId="AD" clId="Web-{632CF791-02D6-1856-7DE2-E8C33EF8D388}" dt="2022-03-22T16:42:58.310" v="381" actId="14100"/>
          <ac:picMkLst>
            <pc:docMk/>
            <pc:sldMk cId="0" sldId="280"/>
            <ac:picMk id="3" creationId="{F35E6470-6E57-46D1-A1E3-E4A3A519E983}"/>
          </ac:picMkLst>
        </pc:picChg>
        <pc:cxnChg chg="mod">
          <ac:chgData name="Guest User" userId="S::urn:spo:anon#bc72e6c931b442e1b83d9d7baffb28dcb7bee849e2d9a5e2bb7cc25170a1c113::" providerId="AD" clId="Web-{632CF791-02D6-1856-7DE2-E8C33EF8D388}" dt="2022-03-22T18:37:52.856" v="426" actId="14100"/>
          <ac:cxnSpMkLst>
            <pc:docMk/>
            <pc:sldMk cId="0" sldId="280"/>
            <ac:cxnSpMk id="864" creationId="{00000000-0000-0000-0000-000000000000}"/>
          </ac:cxnSpMkLst>
        </pc:cxnChg>
      </pc:sldChg>
      <pc:sldChg chg="modSp">
        <pc:chgData name="Guest User" userId="S::urn:spo:anon#bc72e6c931b442e1b83d9d7baffb28dcb7bee849e2d9a5e2bb7cc25170a1c113::" providerId="AD" clId="Web-{632CF791-02D6-1856-7DE2-E8C33EF8D388}" dt="2022-03-22T16:43:50.748" v="392" actId="1076"/>
        <pc:sldMkLst>
          <pc:docMk/>
          <pc:sldMk cId="0" sldId="283"/>
        </pc:sldMkLst>
        <pc:spChg chg="mod">
          <ac:chgData name="Guest User" userId="S::urn:spo:anon#bc72e6c931b442e1b83d9d7baffb28dcb7bee849e2d9a5e2bb7cc25170a1c113::" providerId="AD" clId="Web-{632CF791-02D6-1856-7DE2-E8C33EF8D388}" dt="2022-03-22T16:43:50.748" v="392" actId="1076"/>
          <ac:spMkLst>
            <pc:docMk/>
            <pc:sldMk cId="0" sldId="283"/>
            <ac:spMk id="931" creationId="{00000000-0000-0000-0000-000000000000}"/>
          </ac:spMkLst>
        </pc:spChg>
        <pc:cxnChg chg="mod">
          <ac:chgData name="Guest User" userId="S::urn:spo:anon#bc72e6c931b442e1b83d9d7baffb28dcb7bee849e2d9a5e2bb7cc25170a1c113::" providerId="AD" clId="Web-{632CF791-02D6-1856-7DE2-E8C33EF8D388}" dt="2022-03-22T16:35:28.532" v="356"/>
          <ac:cxnSpMkLst>
            <pc:docMk/>
            <pc:sldMk cId="0" sldId="283"/>
            <ac:cxnSpMk id="934" creationId="{00000000-0000-0000-0000-000000000000}"/>
          </ac:cxnSpMkLst>
        </pc:cxnChg>
      </pc:sldChg>
      <pc:sldChg chg="modSp">
        <pc:chgData name="Guest User" userId="S::urn:spo:anon#bc72e6c931b442e1b83d9d7baffb28dcb7bee849e2d9a5e2bb7cc25170a1c113::" providerId="AD" clId="Web-{632CF791-02D6-1856-7DE2-E8C33EF8D388}" dt="2022-03-22T16:33:00.871" v="295" actId="14100"/>
        <pc:sldMkLst>
          <pc:docMk/>
          <pc:sldMk cId="3210015788" sldId="303"/>
        </pc:sldMkLst>
        <pc:spChg chg="mod">
          <ac:chgData name="Guest User" userId="S::urn:spo:anon#bc72e6c931b442e1b83d9d7baffb28dcb7bee849e2d9a5e2bb7cc25170a1c113::" providerId="AD" clId="Web-{632CF791-02D6-1856-7DE2-E8C33EF8D388}" dt="2022-03-22T16:33:00.871" v="295" actId="14100"/>
          <ac:spMkLst>
            <pc:docMk/>
            <pc:sldMk cId="3210015788" sldId="303"/>
            <ac:spMk id="7" creationId="{BE7F7455-B913-4524-B9A1-CFE51EA4FDC0}"/>
          </ac:spMkLst>
        </pc:spChg>
        <pc:spChg chg="mod">
          <ac:chgData name="Guest User" userId="S::urn:spo:anon#bc72e6c931b442e1b83d9d7baffb28dcb7bee849e2d9a5e2bb7cc25170a1c113::" providerId="AD" clId="Web-{632CF791-02D6-1856-7DE2-E8C33EF8D388}" dt="2022-03-22T16:32:32.105" v="289" actId="1076"/>
          <ac:spMkLst>
            <pc:docMk/>
            <pc:sldMk cId="3210015788" sldId="303"/>
            <ac:spMk id="15" creationId="{7CB18294-8481-4276-8B40-97E3110A50BA}"/>
          </ac:spMkLst>
        </pc:spChg>
        <pc:graphicFrameChg chg="mod">
          <ac:chgData name="Guest User" userId="S::urn:spo:anon#bc72e6c931b442e1b83d9d7baffb28dcb7bee849e2d9a5e2bb7cc25170a1c113::" providerId="AD" clId="Web-{632CF791-02D6-1856-7DE2-E8C33EF8D388}" dt="2022-03-22T16:32:26.823" v="287" actId="1076"/>
          <ac:graphicFrameMkLst>
            <pc:docMk/>
            <pc:sldMk cId="3210015788" sldId="303"/>
            <ac:graphicFrameMk id="488" creationId="{00000000-0000-0000-0000-000000000000}"/>
          </ac:graphicFrameMkLst>
        </pc:graphicFrameChg>
        <pc:cxnChg chg="mod">
          <ac:chgData name="Guest User" userId="S::urn:spo:anon#bc72e6c931b442e1b83d9d7baffb28dcb7bee849e2d9a5e2bb7cc25170a1c113::" providerId="AD" clId="Web-{632CF791-02D6-1856-7DE2-E8C33EF8D388}" dt="2022-03-22T16:32:49.480" v="294" actId="14100"/>
          <ac:cxnSpMkLst>
            <pc:docMk/>
            <pc:sldMk cId="3210015788" sldId="303"/>
            <ac:cxnSpMk id="36" creationId="{EAECDCBB-3819-4FCD-A496-F9491BDFD89C}"/>
          </ac:cxnSpMkLst>
        </pc:cxnChg>
        <pc:cxnChg chg="mod">
          <ac:chgData name="Guest User" userId="S::urn:spo:anon#bc72e6c931b442e1b83d9d7baffb28dcb7bee849e2d9a5e2bb7cc25170a1c113::" providerId="AD" clId="Web-{632CF791-02D6-1856-7DE2-E8C33EF8D388}" dt="2022-03-22T16:32:42.230" v="292" actId="14100"/>
          <ac:cxnSpMkLst>
            <pc:docMk/>
            <pc:sldMk cId="3210015788" sldId="303"/>
            <ac:cxnSpMk id="485" creationId="{00000000-0000-0000-0000-000000000000}"/>
          </ac:cxnSpMkLst>
        </pc:cxnChg>
        <pc:cxnChg chg="mod">
          <ac:chgData name="Guest User" userId="S::urn:spo:anon#bc72e6c931b442e1b83d9d7baffb28dcb7bee849e2d9a5e2bb7cc25170a1c113::" providerId="AD" clId="Web-{632CF791-02D6-1856-7DE2-E8C33EF8D388}" dt="2022-03-22T16:32:39.464" v="291" actId="14100"/>
          <ac:cxnSpMkLst>
            <pc:docMk/>
            <pc:sldMk cId="3210015788" sldId="303"/>
            <ac:cxnSpMk id="486" creationId="{00000000-0000-0000-0000-000000000000}"/>
          </ac:cxnSpMkLst>
        </pc:cxnChg>
        <pc:cxnChg chg="mod">
          <ac:chgData name="Guest User" userId="S::urn:spo:anon#bc72e6c931b442e1b83d9d7baffb28dcb7bee849e2d9a5e2bb7cc25170a1c113::" providerId="AD" clId="Web-{632CF791-02D6-1856-7DE2-E8C33EF8D388}" dt="2022-03-22T16:32:36.542" v="290" actId="14100"/>
          <ac:cxnSpMkLst>
            <pc:docMk/>
            <pc:sldMk cId="3210015788" sldId="303"/>
            <ac:cxnSpMk id="487" creationId="{00000000-0000-0000-0000-000000000000}"/>
          </ac:cxnSpMkLst>
        </pc:cxnChg>
      </pc:sldChg>
      <pc:sldChg chg="modSp">
        <pc:chgData name="Guest User" userId="S::urn:spo:anon#bc72e6c931b442e1b83d9d7baffb28dcb7bee849e2d9a5e2bb7cc25170a1c113::" providerId="AD" clId="Web-{632CF791-02D6-1856-7DE2-E8C33EF8D388}" dt="2022-03-22T16:45:26.579" v="409" actId="20577"/>
        <pc:sldMkLst>
          <pc:docMk/>
          <pc:sldMk cId="1756389301" sldId="323"/>
        </pc:sldMkLst>
        <pc:spChg chg="mod">
          <ac:chgData name="Guest User" userId="S::urn:spo:anon#bc72e6c931b442e1b83d9d7baffb28dcb7bee849e2d9a5e2bb7cc25170a1c113::" providerId="AD" clId="Web-{632CF791-02D6-1856-7DE2-E8C33EF8D388}" dt="2022-03-22T16:36:13.720" v="364" actId="1076"/>
          <ac:spMkLst>
            <pc:docMk/>
            <pc:sldMk cId="1756389301" sldId="323"/>
            <ac:spMk id="4" creationId="{BF92DADF-CA80-4220-B99B-6FEB90716CCD}"/>
          </ac:spMkLst>
        </pc:spChg>
        <pc:spChg chg="mod">
          <ac:chgData name="Guest User" userId="S::urn:spo:anon#bc72e6c931b442e1b83d9d7baffb28dcb7bee849e2d9a5e2bb7cc25170a1c113::" providerId="AD" clId="Web-{632CF791-02D6-1856-7DE2-E8C33EF8D388}" dt="2022-03-22T16:45:26.579" v="409" actId="20577"/>
          <ac:spMkLst>
            <pc:docMk/>
            <pc:sldMk cId="1756389301" sldId="323"/>
            <ac:spMk id="15" creationId="{9C4A17CE-EF6F-4ED7-ADC1-9CEE9825B750}"/>
          </ac:spMkLst>
        </pc:spChg>
        <pc:picChg chg="mod modCrop">
          <ac:chgData name="Guest User" userId="S::urn:spo:anon#bc72e6c931b442e1b83d9d7baffb28dcb7bee849e2d9a5e2bb7cc25170a1c113::" providerId="AD" clId="Web-{632CF791-02D6-1856-7DE2-E8C33EF8D388}" dt="2022-03-22T16:26:14.610" v="193"/>
          <ac:picMkLst>
            <pc:docMk/>
            <pc:sldMk cId="1756389301" sldId="323"/>
            <ac:picMk id="2" creationId="{06FB615F-F8A3-43BA-A287-B8535775C676}"/>
          </ac:picMkLst>
        </pc:picChg>
      </pc:sldChg>
      <pc:sldChg chg="modSp">
        <pc:chgData name="Guest User" userId="S::urn:spo:anon#bc72e6c931b442e1b83d9d7baffb28dcb7bee849e2d9a5e2bb7cc25170a1c113::" providerId="AD" clId="Web-{632CF791-02D6-1856-7DE2-E8C33EF8D388}" dt="2022-03-22T16:30:49.758" v="258"/>
        <pc:sldMkLst>
          <pc:docMk/>
          <pc:sldMk cId="1295029711" sldId="333"/>
        </pc:sldMkLst>
        <pc:graphicFrameChg chg="mod modGraphic">
          <ac:chgData name="Guest User" userId="S::urn:spo:anon#bc72e6c931b442e1b83d9d7baffb28dcb7bee849e2d9a5e2bb7cc25170a1c113::" providerId="AD" clId="Web-{632CF791-02D6-1856-7DE2-E8C33EF8D388}" dt="2022-03-22T16:30:49.758" v="258"/>
          <ac:graphicFrameMkLst>
            <pc:docMk/>
            <pc:sldMk cId="1295029711" sldId="333"/>
            <ac:graphicFrameMk id="694" creationId="{00000000-0000-0000-0000-000000000000}"/>
          </ac:graphicFrameMkLst>
        </pc:graphicFrameChg>
      </pc:sldChg>
      <pc:sldChg chg="modSp">
        <pc:chgData name="Guest User" userId="S::urn:spo:anon#bc72e6c931b442e1b83d9d7baffb28dcb7bee849e2d9a5e2bb7cc25170a1c113::" providerId="AD" clId="Web-{632CF791-02D6-1856-7DE2-E8C33EF8D388}" dt="2022-03-22T16:31:28.587" v="278"/>
        <pc:sldMkLst>
          <pc:docMk/>
          <pc:sldMk cId="130301299" sldId="334"/>
        </pc:sldMkLst>
        <pc:graphicFrameChg chg="mod modGraphic">
          <ac:chgData name="Guest User" userId="S::urn:spo:anon#bc72e6c931b442e1b83d9d7baffb28dcb7bee849e2d9a5e2bb7cc25170a1c113::" providerId="AD" clId="Web-{632CF791-02D6-1856-7DE2-E8C33EF8D388}" dt="2022-03-22T16:31:28.587" v="278"/>
          <ac:graphicFrameMkLst>
            <pc:docMk/>
            <pc:sldMk cId="130301299" sldId="334"/>
            <ac:graphicFrameMk id="694" creationId="{00000000-0000-0000-0000-000000000000}"/>
          </ac:graphicFrameMkLst>
        </pc:graphicFrameChg>
      </pc:sldChg>
      <pc:sldChg chg="addSp delSp modSp">
        <pc:chgData name="Guest User" userId="S::urn:spo:anon#bc72e6c931b442e1b83d9d7baffb28dcb7bee849e2d9a5e2bb7cc25170a1c113::" providerId="AD" clId="Web-{632CF791-02D6-1856-7DE2-E8C33EF8D388}" dt="2022-03-22T18:28:48.171" v="425"/>
        <pc:sldMkLst>
          <pc:docMk/>
          <pc:sldMk cId="3720673345" sldId="336"/>
        </pc:sldMkLst>
        <pc:spChg chg="add del mod">
          <ac:chgData name="Guest User" userId="S::urn:spo:anon#bc72e6c931b442e1b83d9d7baffb28dcb7bee849e2d9a5e2bb7cc25170a1c113::" providerId="AD" clId="Web-{632CF791-02D6-1856-7DE2-E8C33EF8D388}" dt="2022-03-22T18:28:37.702" v="420"/>
          <ac:spMkLst>
            <pc:docMk/>
            <pc:sldMk cId="3720673345" sldId="336"/>
            <ac:spMk id="2" creationId="{35FF6336-8B83-98B4-2D7C-474420272D9D}"/>
          </ac:spMkLst>
        </pc:spChg>
        <pc:spChg chg="add del mod">
          <ac:chgData name="Guest User" userId="S::urn:spo:anon#bc72e6c931b442e1b83d9d7baffb28dcb7bee849e2d9a5e2bb7cc25170a1c113::" providerId="AD" clId="Web-{632CF791-02D6-1856-7DE2-E8C33EF8D388}" dt="2022-03-22T18:28:43.234" v="424"/>
          <ac:spMkLst>
            <pc:docMk/>
            <pc:sldMk cId="3720673345" sldId="336"/>
            <ac:spMk id="3" creationId="{8B02C6DD-05C3-520A-F623-0D0E7BDDECF0}"/>
          </ac:spMkLst>
        </pc:spChg>
        <pc:spChg chg="add">
          <ac:chgData name="Guest User" userId="S::urn:spo:anon#bc72e6c931b442e1b83d9d7baffb28dcb7bee849e2d9a5e2bb7cc25170a1c113::" providerId="AD" clId="Web-{632CF791-02D6-1856-7DE2-E8C33EF8D388}" dt="2022-03-22T18:28:48.171" v="425"/>
          <ac:spMkLst>
            <pc:docMk/>
            <pc:sldMk cId="3720673345" sldId="336"/>
            <ac:spMk id="5" creationId="{F9234196-FD9F-0245-3D15-9CAC8C82146D}"/>
          </ac:spMkLst>
        </pc:spChg>
        <pc:spChg chg="mod">
          <ac:chgData name="Guest User" userId="S::urn:spo:anon#bc72e6c931b442e1b83d9d7baffb28dcb7bee849e2d9a5e2bb7cc25170a1c113::" providerId="AD" clId="Web-{632CF791-02D6-1856-7DE2-E8C33EF8D388}" dt="2022-03-22T16:44:04.249" v="393" actId="20577"/>
          <ac:spMkLst>
            <pc:docMk/>
            <pc:sldMk cId="3720673345" sldId="336"/>
            <ac:spMk id="620" creationId="{00000000-0000-0000-0000-000000000000}"/>
          </ac:spMkLst>
        </pc:spChg>
      </pc:sldChg>
      <pc:sldChg chg="modSp">
        <pc:chgData name="Guest User" userId="S::urn:spo:anon#bc72e6c931b442e1b83d9d7baffb28dcb7bee849e2d9a5e2bb7cc25170a1c113::" providerId="AD" clId="Web-{632CF791-02D6-1856-7DE2-E8C33EF8D388}" dt="2022-03-22T16:44:22.343" v="397" actId="1076"/>
        <pc:sldMkLst>
          <pc:docMk/>
          <pc:sldMk cId="1209993513" sldId="338"/>
        </pc:sldMkLst>
        <pc:spChg chg="mod">
          <ac:chgData name="Guest User" userId="S::urn:spo:anon#bc72e6c931b442e1b83d9d7baffb28dcb7bee849e2d9a5e2bb7cc25170a1c113::" providerId="AD" clId="Web-{632CF791-02D6-1856-7DE2-E8C33EF8D388}" dt="2022-03-22T16:44:22.327" v="396" actId="1076"/>
          <ac:spMkLst>
            <pc:docMk/>
            <pc:sldMk cId="1209993513" sldId="338"/>
            <ac:spMk id="16" creationId="{F29BBF2D-5F15-45EC-BE2A-14ABF1E18DB5}"/>
          </ac:spMkLst>
        </pc:spChg>
        <pc:spChg chg="mod">
          <ac:chgData name="Guest User" userId="S::urn:spo:anon#bc72e6c931b442e1b83d9d7baffb28dcb7bee849e2d9a5e2bb7cc25170a1c113::" providerId="AD" clId="Web-{632CF791-02D6-1856-7DE2-E8C33EF8D388}" dt="2022-03-22T16:44:22.343" v="397" actId="1076"/>
          <ac:spMkLst>
            <pc:docMk/>
            <pc:sldMk cId="1209993513" sldId="338"/>
            <ac:spMk id="605" creationId="{00000000-0000-0000-0000-000000000000}"/>
          </ac:spMkLst>
        </pc:spChg>
      </pc:sldChg>
      <pc:sldChg chg="modSp">
        <pc:chgData name="Guest User" userId="S::urn:spo:anon#bc72e6c931b442e1b83d9d7baffb28dcb7bee849e2d9a5e2bb7cc25170a1c113::" providerId="AD" clId="Web-{632CF791-02D6-1856-7DE2-E8C33EF8D388}" dt="2022-03-22T16:32:20.261" v="286" actId="1076"/>
        <pc:sldMkLst>
          <pc:docMk/>
          <pc:sldMk cId="2486721525" sldId="341"/>
        </pc:sldMkLst>
        <pc:spChg chg="mod">
          <ac:chgData name="Guest User" userId="S::urn:spo:anon#bc72e6c931b442e1b83d9d7baffb28dcb7bee849e2d9a5e2bb7cc25170a1c113::" providerId="AD" clId="Web-{632CF791-02D6-1856-7DE2-E8C33EF8D388}" dt="2022-03-22T16:31:53.026" v="280" actId="1076"/>
          <ac:spMkLst>
            <pc:docMk/>
            <pc:sldMk cId="2486721525" sldId="341"/>
            <ac:spMk id="416" creationId="{00000000-0000-0000-0000-000000000000}"/>
          </ac:spMkLst>
        </pc:spChg>
        <pc:spChg chg="mod">
          <ac:chgData name="Guest User" userId="S::urn:spo:anon#bc72e6c931b442e1b83d9d7baffb28dcb7bee849e2d9a5e2bb7cc25170a1c113::" providerId="AD" clId="Web-{632CF791-02D6-1856-7DE2-E8C33EF8D388}" dt="2022-03-22T16:31:59.338" v="282" actId="1076"/>
          <ac:spMkLst>
            <pc:docMk/>
            <pc:sldMk cId="2486721525" sldId="341"/>
            <ac:spMk id="436" creationId="{00000000-0000-0000-0000-000000000000}"/>
          </ac:spMkLst>
        </pc:spChg>
        <pc:spChg chg="mod">
          <ac:chgData name="Guest User" userId="S::urn:spo:anon#bc72e6c931b442e1b83d9d7baffb28dcb7bee849e2d9a5e2bb7cc25170a1c113::" providerId="AD" clId="Web-{632CF791-02D6-1856-7DE2-E8C33EF8D388}" dt="2022-03-22T16:32:16.339" v="285" actId="1076"/>
          <ac:spMkLst>
            <pc:docMk/>
            <pc:sldMk cId="2486721525" sldId="341"/>
            <ac:spMk id="444" creationId="{00000000-0000-0000-0000-000000000000}"/>
          </ac:spMkLst>
        </pc:spChg>
        <pc:spChg chg="mod">
          <ac:chgData name="Guest User" userId="S::urn:spo:anon#bc72e6c931b442e1b83d9d7baffb28dcb7bee849e2d9a5e2bb7cc25170a1c113::" providerId="AD" clId="Web-{632CF791-02D6-1856-7DE2-E8C33EF8D388}" dt="2022-03-22T16:32:11.839" v="284" actId="1076"/>
          <ac:spMkLst>
            <pc:docMk/>
            <pc:sldMk cId="2486721525" sldId="341"/>
            <ac:spMk id="446" creationId="{00000000-0000-0000-0000-000000000000}"/>
          </ac:spMkLst>
        </pc:spChg>
        <pc:spChg chg="mod">
          <ac:chgData name="Guest User" userId="S::urn:spo:anon#bc72e6c931b442e1b83d9d7baffb28dcb7bee849e2d9a5e2bb7cc25170a1c113::" providerId="AD" clId="Web-{632CF791-02D6-1856-7DE2-E8C33EF8D388}" dt="2022-03-22T16:32:05.823" v="283" actId="1076"/>
          <ac:spMkLst>
            <pc:docMk/>
            <pc:sldMk cId="2486721525" sldId="341"/>
            <ac:spMk id="447" creationId="{00000000-0000-0000-0000-000000000000}"/>
          </ac:spMkLst>
        </pc:spChg>
        <pc:spChg chg="mod">
          <ac:chgData name="Guest User" userId="S::urn:spo:anon#bc72e6c931b442e1b83d9d7baffb28dcb7bee849e2d9a5e2bb7cc25170a1c113::" providerId="AD" clId="Web-{632CF791-02D6-1856-7DE2-E8C33EF8D388}" dt="2022-03-22T16:32:20.261" v="286" actId="1076"/>
          <ac:spMkLst>
            <pc:docMk/>
            <pc:sldMk cId="2486721525" sldId="341"/>
            <ac:spMk id="454" creationId="{00000000-0000-0000-0000-000000000000}"/>
          </ac:spMkLst>
        </pc:spChg>
      </pc:sldChg>
      <pc:sldChg chg="modSp">
        <pc:chgData name="Guest User" userId="S::urn:spo:anon#bc72e6c931b442e1b83d9d7baffb28dcb7bee849e2d9a5e2bb7cc25170a1c113::" providerId="AD" clId="Web-{632CF791-02D6-1856-7DE2-E8C33EF8D388}" dt="2022-03-22T16:34:38.608" v="352" actId="1076"/>
        <pc:sldMkLst>
          <pc:docMk/>
          <pc:sldMk cId="4114424017" sldId="342"/>
        </pc:sldMkLst>
        <pc:graphicFrameChg chg="mod">
          <ac:chgData name="Guest User" userId="S::urn:spo:anon#bc72e6c931b442e1b83d9d7baffb28dcb7bee849e2d9a5e2bb7cc25170a1c113::" providerId="AD" clId="Web-{632CF791-02D6-1856-7DE2-E8C33EF8D388}" dt="2022-03-22T16:34:38.608" v="352" actId="1076"/>
          <ac:graphicFrameMkLst>
            <pc:docMk/>
            <pc:sldMk cId="4114424017" sldId="342"/>
            <ac:graphicFrameMk id="23" creationId="{F4A84191-3BFB-48AA-A343-19DE4EA3891C}"/>
          </ac:graphicFrameMkLst>
        </pc:graphicFrameChg>
      </pc:sldChg>
      <pc:sldChg chg="modSp">
        <pc:chgData name="Guest User" userId="S::urn:spo:anon#bc72e6c931b442e1b83d9d7baffb28dcb7bee849e2d9a5e2bb7cc25170a1c113::" providerId="AD" clId="Web-{632CF791-02D6-1856-7DE2-E8C33EF8D388}" dt="2022-03-22T16:45:44.939" v="411" actId="1076"/>
        <pc:sldMkLst>
          <pc:docMk/>
          <pc:sldMk cId="211703589" sldId="343"/>
        </pc:sldMkLst>
        <pc:spChg chg="mod">
          <ac:chgData name="Guest User" userId="S::urn:spo:anon#bc72e6c931b442e1b83d9d7baffb28dcb7bee849e2d9a5e2bb7cc25170a1c113::" providerId="AD" clId="Web-{632CF791-02D6-1856-7DE2-E8C33EF8D388}" dt="2022-03-22T16:45:44.939" v="411" actId="1076"/>
          <ac:spMkLst>
            <pc:docMk/>
            <pc:sldMk cId="211703589" sldId="343"/>
            <ac:spMk id="6" creationId="{D1B67900-A55A-49E3-9F1F-6FA28D277895}"/>
          </ac:spMkLst>
        </pc:spChg>
        <pc:spChg chg="mod">
          <ac:chgData name="Guest User" userId="S::urn:spo:anon#bc72e6c931b442e1b83d9d7baffb28dcb7bee849e2d9a5e2bb7cc25170a1c113::" providerId="AD" clId="Web-{632CF791-02D6-1856-7DE2-E8C33EF8D388}" dt="2022-03-22T16:30:17.554" v="244" actId="14100"/>
          <ac:spMkLst>
            <pc:docMk/>
            <pc:sldMk cId="211703589" sldId="343"/>
            <ac:spMk id="572" creationId="{00000000-0000-0000-0000-000000000000}"/>
          </ac:spMkLst>
        </pc:spChg>
      </pc:sldChg>
      <pc:sldChg chg="modSp">
        <pc:chgData name="Guest User" userId="S::urn:spo:anon#bc72e6c931b442e1b83d9d7baffb28dcb7bee849e2d9a5e2bb7cc25170a1c113::" providerId="AD" clId="Web-{632CF791-02D6-1856-7DE2-E8C33EF8D388}" dt="2022-03-22T16:44:47.328" v="402" actId="1076"/>
        <pc:sldMkLst>
          <pc:docMk/>
          <pc:sldMk cId="1639760722" sldId="344"/>
        </pc:sldMkLst>
        <pc:spChg chg="mod">
          <ac:chgData name="Guest User" userId="S::urn:spo:anon#bc72e6c931b442e1b83d9d7baffb28dcb7bee849e2d9a5e2bb7cc25170a1c113::" providerId="AD" clId="Web-{632CF791-02D6-1856-7DE2-E8C33EF8D388}" dt="2022-03-22T16:21:38.165" v="149" actId="1076"/>
          <ac:spMkLst>
            <pc:docMk/>
            <pc:sldMk cId="1639760722" sldId="344"/>
            <ac:spMk id="15" creationId="{E539B02A-95E4-440D-9E22-F138643D2C89}"/>
          </ac:spMkLst>
        </pc:spChg>
        <pc:spChg chg="mod">
          <ac:chgData name="Guest User" userId="S::urn:spo:anon#bc72e6c931b442e1b83d9d7baffb28dcb7bee849e2d9a5e2bb7cc25170a1c113::" providerId="AD" clId="Web-{632CF791-02D6-1856-7DE2-E8C33EF8D388}" dt="2022-03-22T16:44:47.328" v="402" actId="1076"/>
          <ac:spMkLst>
            <pc:docMk/>
            <pc:sldMk cId="1639760722" sldId="344"/>
            <ac:spMk id="16" creationId="{F29BBF2D-5F15-45EC-BE2A-14ABF1E18DB5}"/>
          </ac:spMkLst>
        </pc:spChg>
        <pc:spChg chg="mod">
          <ac:chgData name="Guest User" userId="S::urn:spo:anon#bc72e6c931b442e1b83d9d7baffb28dcb7bee849e2d9a5e2bb7cc25170a1c113::" providerId="AD" clId="Web-{632CF791-02D6-1856-7DE2-E8C33EF8D388}" dt="2022-03-22T16:22:13.650" v="155" actId="1076"/>
          <ac:spMkLst>
            <pc:docMk/>
            <pc:sldMk cId="1639760722" sldId="344"/>
            <ac:spMk id="605" creationId="{00000000-0000-0000-0000-000000000000}"/>
          </ac:spMkLst>
        </pc:spChg>
      </pc:sldChg>
      <pc:sldChg chg="modSp">
        <pc:chgData name="Guest User" userId="S::urn:spo:anon#bc72e6c931b442e1b83d9d7baffb28dcb7bee849e2d9a5e2bb7cc25170a1c113::" providerId="AD" clId="Web-{632CF791-02D6-1856-7DE2-E8C33EF8D388}" dt="2022-03-22T16:45:06.563" v="405" actId="20577"/>
        <pc:sldMkLst>
          <pc:docMk/>
          <pc:sldMk cId="2963563579" sldId="348"/>
        </pc:sldMkLst>
        <pc:spChg chg="mod">
          <ac:chgData name="Guest User" userId="S::urn:spo:anon#bc72e6c931b442e1b83d9d7baffb28dcb7bee849e2d9a5e2bb7cc25170a1c113::" providerId="AD" clId="Web-{632CF791-02D6-1856-7DE2-E8C33EF8D388}" dt="2022-03-22T16:23:00.261" v="161"/>
          <ac:spMkLst>
            <pc:docMk/>
            <pc:sldMk cId="2963563579" sldId="348"/>
            <ac:spMk id="4" creationId="{7E99DE7C-9F18-B33F-8154-9FB35F971E34}"/>
          </ac:spMkLst>
        </pc:spChg>
        <pc:spChg chg="mod">
          <ac:chgData name="Guest User" userId="S::urn:spo:anon#bc72e6c931b442e1b83d9d7baffb28dcb7bee849e2d9a5e2bb7cc25170a1c113::" providerId="AD" clId="Web-{632CF791-02D6-1856-7DE2-E8C33EF8D388}" dt="2022-03-22T16:24:38.951" v="177" actId="14100"/>
          <ac:spMkLst>
            <pc:docMk/>
            <pc:sldMk cId="2963563579" sldId="348"/>
            <ac:spMk id="8" creationId="{63314686-1D13-4553-B700-6ED15E618005}"/>
          </ac:spMkLst>
        </pc:spChg>
        <pc:spChg chg="mod">
          <ac:chgData name="Guest User" userId="S::urn:spo:anon#bc72e6c931b442e1b83d9d7baffb28dcb7bee849e2d9a5e2bb7cc25170a1c113::" providerId="AD" clId="Web-{632CF791-02D6-1856-7DE2-E8C33EF8D388}" dt="2022-03-22T16:45:06.563" v="405" actId="20577"/>
          <ac:spMkLst>
            <pc:docMk/>
            <pc:sldMk cId="2963563579" sldId="348"/>
            <ac:spMk id="14" creationId="{314EDFE2-8825-44A8-A59E-C5A6A5FD2E50}"/>
          </ac:spMkLst>
        </pc:spChg>
        <pc:spChg chg="mod">
          <ac:chgData name="Guest User" userId="S::urn:spo:anon#bc72e6c931b442e1b83d9d7baffb28dcb7bee849e2d9a5e2bb7cc25170a1c113::" providerId="AD" clId="Web-{632CF791-02D6-1856-7DE2-E8C33EF8D388}" dt="2022-03-22T16:22:57.605" v="160"/>
          <ac:spMkLst>
            <pc:docMk/>
            <pc:sldMk cId="2963563579" sldId="348"/>
            <ac:spMk id="16" creationId="{F6466A26-FAF8-4506-3FF0-3EF6BF3C065A}"/>
          </ac:spMkLst>
        </pc:spChg>
        <pc:picChg chg="mod">
          <ac:chgData name="Guest User" userId="S::urn:spo:anon#bc72e6c931b442e1b83d9d7baffb28dcb7bee849e2d9a5e2bb7cc25170a1c113::" providerId="AD" clId="Web-{632CF791-02D6-1856-7DE2-E8C33EF8D388}" dt="2022-03-22T16:22:54.261" v="159" actId="1076"/>
          <ac:picMkLst>
            <pc:docMk/>
            <pc:sldMk cId="2963563579" sldId="348"/>
            <ac:picMk id="6" creationId="{EDE8B35B-47B6-4765-BFAE-21B063BC34CB}"/>
          </ac:picMkLst>
        </pc:picChg>
      </pc:sldChg>
      <pc:sldChg chg="modSp">
        <pc:chgData name="Guest User" userId="S::urn:spo:anon#bc72e6c931b442e1b83d9d7baffb28dcb7bee849e2d9a5e2bb7cc25170a1c113::" providerId="AD" clId="Web-{632CF791-02D6-1856-7DE2-E8C33EF8D388}" dt="2022-03-22T16:34:50.765" v="353"/>
        <pc:sldMkLst>
          <pc:docMk/>
          <pc:sldMk cId="754587697" sldId="352"/>
        </pc:sldMkLst>
        <pc:spChg chg="mod">
          <ac:chgData name="Guest User" userId="S::urn:spo:anon#bc72e6c931b442e1b83d9d7baffb28dcb7bee849e2d9a5e2bb7cc25170a1c113::" providerId="AD" clId="Web-{632CF791-02D6-1856-7DE2-E8C33EF8D388}" dt="2022-03-22T16:34:31.796" v="350" actId="1076"/>
          <ac:spMkLst>
            <pc:docMk/>
            <pc:sldMk cId="754587697" sldId="352"/>
            <ac:spMk id="2" creationId="{4D5921D8-9182-46DA-BF73-3160B3589AF0}"/>
          </ac:spMkLst>
        </pc:spChg>
        <pc:graphicFrameChg chg="mod modGraphic">
          <ac:chgData name="Guest User" userId="S::urn:spo:anon#bc72e6c931b442e1b83d9d7baffb28dcb7bee849e2d9a5e2bb7cc25170a1c113::" providerId="AD" clId="Web-{632CF791-02D6-1856-7DE2-E8C33EF8D388}" dt="2022-03-22T16:34:50.765" v="353"/>
          <ac:graphicFrameMkLst>
            <pc:docMk/>
            <pc:sldMk cId="754587697" sldId="352"/>
            <ac:graphicFrameMk id="23" creationId="{F4A84191-3BFB-48AA-A343-19DE4EA3891C}"/>
          </ac:graphicFrameMkLst>
        </pc:graphicFrameChg>
      </pc:sldChg>
      <pc:sldChg chg="modSp">
        <pc:chgData name="Guest User" userId="S::urn:spo:anon#bc72e6c931b442e1b83d9d7baffb28dcb7bee849e2d9a5e2bb7cc25170a1c113::" providerId="AD" clId="Web-{632CF791-02D6-1856-7DE2-E8C33EF8D388}" dt="2022-03-22T16:28:26.161" v="229" actId="14100"/>
        <pc:sldMkLst>
          <pc:docMk/>
          <pc:sldMk cId="2527603155" sldId="353"/>
        </pc:sldMkLst>
        <pc:spChg chg="mod">
          <ac:chgData name="Guest User" userId="S::urn:spo:anon#bc72e6c931b442e1b83d9d7baffb28dcb7bee849e2d9a5e2bb7cc25170a1c113::" providerId="AD" clId="Web-{632CF791-02D6-1856-7DE2-E8C33EF8D388}" dt="2022-03-22T16:28:08.738" v="223" actId="1076"/>
          <ac:spMkLst>
            <pc:docMk/>
            <pc:sldMk cId="2527603155" sldId="353"/>
            <ac:spMk id="6" creationId="{381230BA-653D-44CE-9AC8-F83E1E142ED2}"/>
          </ac:spMkLst>
        </pc:spChg>
        <pc:spChg chg="mod">
          <ac:chgData name="Guest User" userId="S::urn:spo:anon#bc72e6c931b442e1b83d9d7baffb28dcb7bee849e2d9a5e2bb7cc25170a1c113::" providerId="AD" clId="Web-{632CF791-02D6-1856-7DE2-E8C33EF8D388}" dt="2022-03-22T16:28:19.582" v="226" actId="1076"/>
          <ac:spMkLst>
            <pc:docMk/>
            <pc:sldMk cId="2527603155" sldId="353"/>
            <ac:spMk id="7" creationId="{5CC2109E-2E2D-46CC-B856-A39FE7E1BE02}"/>
          </ac:spMkLst>
        </pc:spChg>
        <pc:spChg chg="mod">
          <ac:chgData name="Guest User" userId="S::urn:spo:anon#bc72e6c931b442e1b83d9d7baffb28dcb7bee849e2d9a5e2bb7cc25170a1c113::" providerId="AD" clId="Web-{632CF791-02D6-1856-7DE2-E8C33EF8D388}" dt="2022-03-22T16:28:05.769" v="216" actId="1076"/>
          <ac:spMkLst>
            <pc:docMk/>
            <pc:sldMk cId="2527603155" sldId="353"/>
            <ac:spMk id="8" creationId="{B1EC9CE1-2695-4B56-ABB2-82D9F7DD622C}"/>
          </ac:spMkLst>
        </pc:spChg>
        <pc:spChg chg="mod">
          <ac:chgData name="Guest User" userId="S::urn:spo:anon#bc72e6c931b442e1b83d9d7baffb28dcb7bee849e2d9a5e2bb7cc25170a1c113::" providerId="AD" clId="Web-{632CF791-02D6-1856-7DE2-E8C33EF8D388}" dt="2022-03-22T16:28:14.676" v="225" actId="1076"/>
          <ac:spMkLst>
            <pc:docMk/>
            <pc:sldMk cId="2527603155" sldId="353"/>
            <ac:spMk id="9" creationId="{45C04764-F269-4F64-9737-7683A5D0C3C8}"/>
          </ac:spMkLst>
        </pc:spChg>
        <pc:spChg chg="mod">
          <ac:chgData name="Guest User" userId="S::urn:spo:anon#bc72e6c931b442e1b83d9d7baffb28dcb7bee849e2d9a5e2bb7cc25170a1c113::" providerId="AD" clId="Web-{632CF791-02D6-1856-7DE2-E8C33EF8D388}" dt="2022-03-22T16:28:05.832" v="219" actId="1076"/>
          <ac:spMkLst>
            <pc:docMk/>
            <pc:sldMk cId="2527603155" sldId="353"/>
            <ac:spMk id="15" creationId="{1F301F17-C695-479F-8C1E-0A4D7A9FF58B}"/>
          </ac:spMkLst>
        </pc:spChg>
        <pc:spChg chg="mod">
          <ac:chgData name="Guest User" userId="S::urn:spo:anon#bc72e6c931b442e1b83d9d7baffb28dcb7bee849e2d9a5e2bb7cc25170a1c113::" providerId="AD" clId="Web-{632CF791-02D6-1856-7DE2-E8C33EF8D388}" dt="2022-03-22T16:28:26.161" v="229" actId="14100"/>
          <ac:spMkLst>
            <pc:docMk/>
            <pc:sldMk cId="2527603155" sldId="353"/>
            <ac:spMk id="17" creationId="{1D0F6373-7FF4-F64B-A9FB-FA5D91D110D1}"/>
          </ac:spMkLst>
        </pc:spChg>
        <pc:cxnChg chg="mod">
          <ac:chgData name="Guest User" userId="S::urn:spo:anon#bc72e6c931b442e1b83d9d7baffb28dcb7bee849e2d9a5e2bb7cc25170a1c113::" providerId="AD" clId="Web-{632CF791-02D6-1856-7DE2-E8C33EF8D388}" dt="2022-03-22T16:28:05.816" v="218" actId="1076"/>
          <ac:cxnSpMkLst>
            <pc:docMk/>
            <pc:sldMk cId="2527603155" sldId="353"/>
            <ac:cxnSpMk id="12" creationId="{A94571A4-862E-41DE-A57B-B3E47291AED7}"/>
          </ac:cxnSpMkLst>
        </pc:cxnChg>
        <pc:cxnChg chg="mod">
          <ac:chgData name="Guest User" userId="S::urn:spo:anon#bc72e6c931b442e1b83d9d7baffb28dcb7bee849e2d9a5e2bb7cc25170a1c113::" providerId="AD" clId="Web-{632CF791-02D6-1856-7DE2-E8C33EF8D388}" dt="2022-03-22T16:28:19.598" v="227" actId="1076"/>
          <ac:cxnSpMkLst>
            <pc:docMk/>
            <pc:sldMk cId="2527603155" sldId="353"/>
            <ac:cxnSpMk id="27" creationId="{6EB4A5A2-26B2-4767-AD65-2BB9CEB4CBFB}"/>
          </ac:cxnSpMkLst>
        </pc:cxnChg>
        <pc:cxnChg chg="mod">
          <ac:chgData name="Guest User" userId="S::urn:spo:anon#bc72e6c931b442e1b83d9d7baffb28dcb7bee849e2d9a5e2bb7cc25170a1c113::" providerId="AD" clId="Web-{632CF791-02D6-1856-7DE2-E8C33EF8D388}" dt="2022-03-22T16:28:12.301" v="224" actId="1076"/>
          <ac:cxnSpMkLst>
            <pc:docMk/>
            <pc:sldMk cId="2527603155" sldId="353"/>
            <ac:cxnSpMk id="28" creationId="{F6FFE78A-F8D8-4DFD-8258-5C82EC421929}"/>
          </ac:cxnSpMkLst>
        </pc:cxnChg>
      </pc:sldChg>
      <pc:sldChg chg="addSp modSp">
        <pc:chgData name="Guest User" userId="S::urn:spo:anon#bc72e6c931b442e1b83d9d7baffb28dcb7bee849e2d9a5e2bb7cc25170a1c113::" providerId="AD" clId="Web-{632CF791-02D6-1856-7DE2-E8C33EF8D388}" dt="2022-03-22T18:28:33.733" v="419" actId="20577"/>
        <pc:sldMkLst>
          <pc:docMk/>
          <pc:sldMk cId="2060296423" sldId="355"/>
        </pc:sldMkLst>
        <pc:spChg chg="add mod">
          <ac:chgData name="Guest User" userId="S::urn:spo:anon#bc72e6c931b442e1b83d9d7baffb28dcb7bee849e2d9a5e2bb7cc25170a1c113::" providerId="AD" clId="Web-{632CF791-02D6-1856-7DE2-E8C33EF8D388}" dt="2022-03-22T18:28:33.733" v="419" actId="20577"/>
          <ac:spMkLst>
            <pc:docMk/>
            <pc:sldMk cId="2060296423" sldId="355"/>
            <ac:spMk id="2" creationId="{04EDEE64-E746-78F4-1324-7AF433DDB119}"/>
          </ac:spMkLst>
        </pc:spChg>
      </pc:sldChg>
      <pc:sldChg chg="modSp">
        <pc:chgData name="Guest User" userId="S::urn:spo:anon#bc72e6c931b442e1b83d9d7baffb28dcb7bee849e2d9a5e2bb7cc25170a1c113::" providerId="AD" clId="Web-{632CF791-02D6-1856-7DE2-E8C33EF8D388}" dt="2022-03-22T16:44:50.985" v="403" actId="1076"/>
        <pc:sldMkLst>
          <pc:docMk/>
          <pc:sldMk cId="4017139295" sldId="356"/>
        </pc:sldMkLst>
        <pc:spChg chg="mod">
          <ac:chgData name="Guest User" userId="S::urn:spo:anon#bc72e6c931b442e1b83d9d7baffb28dcb7bee849e2d9a5e2bb7cc25170a1c113::" providerId="AD" clId="Web-{632CF791-02D6-1856-7DE2-E8C33EF8D388}" dt="2022-03-22T16:44:50.985" v="403" actId="1076"/>
          <ac:spMkLst>
            <pc:docMk/>
            <pc:sldMk cId="4017139295" sldId="356"/>
            <ac:spMk id="16" creationId="{F29BBF2D-5F15-45EC-BE2A-14ABF1E18DB5}"/>
          </ac:spMkLst>
        </pc:spChg>
      </pc:sldChg>
      <pc:sldChg chg="modSp">
        <pc:chgData name="Guest User" userId="S::urn:spo:anon#bc72e6c931b442e1b83d9d7baffb28dcb7bee849e2d9a5e2bb7cc25170a1c113::" providerId="AD" clId="Web-{632CF791-02D6-1856-7DE2-E8C33EF8D388}" dt="2022-03-22T16:44:53.266" v="404" actId="1076"/>
        <pc:sldMkLst>
          <pc:docMk/>
          <pc:sldMk cId="73800528" sldId="357"/>
        </pc:sldMkLst>
        <pc:spChg chg="mod">
          <ac:chgData name="Guest User" userId="S::urn:spo:anon#bc72e6c931b442e1b83d9d7baffb28dcb7bee849e2d9a5e2bb7cc25170a1c113::" providerId="AD" clId="Web-{632CF791-02D6-1856-7DE2-E8C33EF8D388}" dt="2022-03-22T16:44:53.266" v="404" actId="1076"/>
          <ac:spMkLst>
            <pc:docMk/>
            <pc:sldMk cId="73800528" sldId="357"/>
            <ac:spMk id="16" creationId="{F29BBF2D-5F15-45EC-BE2A-14ABF1E18DB5}"/>
          </ac:spMkLst>
        </pc:spChg>
      </pc:sldChg>
      <pc:sldChg chg="modSp">
        <pc:chgData name="Guest User" userId="S::urn:spo:anon#bc72e6c931b442e1b83d9d7baffb28dcb7bee849e2d9a5e2bb7cc25170a1c113::" providerId="AD" clId="Web-{632CF791-02D6-1856-7DE2-E8C33EF8D388}" dt="2022-03-22T16:24:59.686" v="181" actId="1076"/>
        <pc:sldMkLst>
          <pc:docMk/>
          <pc:sldMk cId="3608811986" sldId="360"/>
        </pc:sldMkLst>
        <pc:picChg chg="mod modCrop">
          <ac:chgData name="Guest User" userId="S::urn:spo:anon#bc72e6c931b442e1b83d9d7baffb28dcb7bee849e2d9a5e2bb7cc25170a1c113::" providerId="AD" clId="Web-{632CF791-02D6-1856-7DE2-E8C33EF8D388}" dt="2022-03-22T16:24:59.686" v="181" actId="1076"/>
          <ac:picMkLst>
            <pc:docMk/>
            <pc:sldMk cId="3608811986" sldId="360"/>
            <ac:picMk id="6" creationId="{EDE8B35B-47B6-4765-BFAE-21B063BC34CB}"/>
          </ac:picMkLst>
        </pc:picChg>
      </pc:sldChg>
      <pc:sldChg chg="add del replId">
        <pc:chgData name="Guest User" userId="S::urn:spo:anon#bc72e6c931b442e1b83d9d7baffb28dcb7bee849e2d9a5e2bb7cc25170a1c113::" providerId="AD" clId="Web-{632CF791-02D6-1856-7DE2-E8C33EF8D388}" dt="2022-03-22T16:06:54.812" v="2"/>
        <pc:sldMkLst>
          <pc:docMk/>
          <pc:sldMk cId="2070894326" sldId="361"/>
        </pc:sldMkLst>
      </pc:sldChg>
    </pc:docChg>
  </pc:docChgLst>
  <pc:docChgLst>
    <pc:chgData name="Guest User" userId="S::urn:spo:anon#bc72e6c931b442e1b83d9d7baffb28dcb7bee849e2d9a5e2bb7cc25170a1c113::" providerId="AD" clId="Web-{237A05A1-EC18-7DB7-BCDB-3B0904F2EFC6}"/>
    <pc:docChg chg="addSld delSld modSld">
      <pc:chgData name="Guest User" userId="S::urn:spo:anon#bc72e6c931b442e1b83d9d7baffb28dcb7bee849e2d9a5e2bb7cc25170a1c113::" providerId="AD" clId="Web-{237A05A1-EC18-7DB7-BCDB-3B0904F2EFC6}" dt="2022-03-22T15:39:34.356" v="412"/>
      <pc:docMkLst>
        <pc:docMk/>
      </pc:docMkLst>
      <pc:sldChg chg="addSp modSp">
        <pc:chgData name="Guest User" userId="S::urn:spo:anon#bc72e6c931b442e1b83d9d7baffb28dcb7bee849e2d9a5e2bb7cc25170a1c113::" providerId="AD" clId="Web-{237A05A1-EC18-7DB7-BCDB-3B0904F2EFC6}" dt="2022-03-21T22:26:02.571" v="45" actId="1076"/>
        <pc:sldMkLst>
          <pc:docMk/>
          <pc:sldMk cId="0" sldId="269"/>
        </pc:sldMkLst>
        <pc:spChg chg="add mod">
          <ac:chgData name="Guest User" userId="S::urn:spo:anon#bc72e6c931b442e1b83d9d7baffb28dcb7bee849e2d9a5e2bb7cc25170a1c113::" providerId="AD" clId="Web-{237A05A1-EC18-7DB7-BCDB-3B0904F2EFC6}" dt="2022-03-21T22:23:09.316" v="43" actId="20577"/>
          <ac:spMkLst>
            <pc:docMk/>
            <pc:sldMk cId="0" sldId="269"/>
            <ac:spMk id="7" creationId="{26F3CCCF-2BC5-4D15-8B88-7E8827A7C6E8}"/>
          </ac:spMkLst>
        </pc:spChg>
        <pc:spChg chg="ord">
          <ac:chgData name="Guest User" userId="S::urn:spo:anon#bc72e6c931b442e1b83d9d7baffb28dcb7bee849e2d9a5e2bb7cc25170a1c113::" providerId="AD" clId="Web-{237A05A1-EC18-7DB7-BCDB-3B0904F2EFC6}" dt="2022-03-21T22:23:15.769" v="44"/>
          <ac:spMkLst>
            <pc:docMk/>
            <pc:sldMk cId="0" sldId="269"/>
            <ac:spMk id="13" creationId="{81906317-FB50-4C44-83DD-8262AE251781}"/>
          </ac:spMkLst>
        </pc:spChg>
        <pc:spChg chg="mod">
          <ac:chgData name="Guest User" userId="S::urn:spo:anon#bc72e6c931b442e1b83d9d7baffb28dcb7bee849e2d9a5e2bb7cc25170a1c113::" providerId="AD" clId="Web-{237A05A1-EC18-7DB7-BCDB-3B0904F2EFC6}" dt="2022-03-21T22:22:38.784" v="36" actId="1076"/>
          <ac:spMkLst>
            <pc:docMk/>
            <pc:sldMk cId="0" sldId="269"/>
            <ac:spMk id="16" creationId="{F29BBF2D-5F15-45EC-BE2A-14ABF1E18DB5}"/>
          </ac:spMkLst>
        </pc:spChg>
        <pc:picChg chg="add mod">
          <ac:chgData name="Guest User" userId="S::urn:spo:anon#bc72e6c931b442e1b83d9d7baffb28dcb7bee849e2d9a5e2bb7cc25170a1c113::" providerId="AD" clId="Web-{237A05A1-EC18-7DB7-BCDB-3B0904F2EFC6}" dt="2022-03-21T22:21:55.814" v="17" actId="14100"/>
          <ac:picMkLst>
            <pc:docMk/>
            <pc:sldMk cId="0" sldId="269"/>
            <ac:picMk id="4" creationId="{A3DE1E23-4D91-4A14-B3F7-C67C5D0DD7A5}"/>
          </ac:picMkLst>
        </pc:picChg>
        <pc:picChg chg="add mod">
          <ac:chgData name="Guest User" userId="S::urn:spo:anon#bc72e6c931b442e1b83d9d7baffb28dcb7bee849e2d9a5e2bb7cc25170a1c113::" providerId="AD" clId="Web-{237A05A1-EC18-7DB7-BCDB-3B0904F2EFC6}" dt="2022-03-21T22:21:55.908" v="18" actId="14100"/>
          <ac:picMkLst>
            <pc:docMk/>
            <pc:sldMk cId="0" sldId="269"/>
            <ac:picMk id="5" creationId="{9E943CF7-D578-4861-B11C-4ED484043137}"/>
          </ac:picMkLst>
        </pc:picChg>
        <pc:picChg chg="add mod">
          <ac:chgData name="Guest User" userId="S::urn:spo:anon#bc72e6c931b442e1b83d9d7baffb28dcb7bee849e2d9a5e2bb7cc25170a1c113::" providerId="AD" clId="Web-{237A05A1-EC18-7DB7-BCDB-3B0904F2EFC6}" dt="2022-03-21T22:26:02.571" v="45" actId="1076"/>
          <ac:picMkLst>
            <pc:docMk/>
            <pc:sldMk cId="0" sldId="269"/>
            <ac:picMk id="6" creationId="{7320460E-7625-44AD-8A44-09D8797A39CC}"/>
          </ac:picMkLst>
        </pc:picChg>
      </pc:sldChg>
      <pc:sldChg chg="addSp delSp modSp">
        <pc:chgData name="Guest User" userId="S::urn:spo:anon#bc72e6c931b442e1b83d9d7baffb28dcb7bee849e2d9a5e2bb7cc25170a1c113::" providerId="AD" clId="Web-{237A05A1-EC18-7DB7-BCDB-3B0904F2EFC6}" dt="2022-03-21T22:35:28.010" v="191" actId="20577"/>
        <pc:sldMkLst>
          <pc:docMk/>
          <pc:sldMk cId="1639760722" sldId="344"/>
        </pc:sldMkLst>
        <pc:spChg chg="add del mod">
          <ac:chgData name="Guest User" userId="S::urn:spo:anon#bc72e6c931b442e1b83d9d7baffb28dcb7bee849e2d9a5e2bb7cc25170a1c113::" providerId="AD" clId="Web-{237A05A1-EC18-7DB7-BCDB-3B0904F2EFC6}" dt="2022-03-21T22:30:13.360" v="102"/>
          <ac:spMkLst>
            <pc:docMk/>
            <pc:sldMk cId="1639760722" sldId="344"/>
            <ac:spMk id="14" creationId="{AFD8A8EF-905D-45A0-8386-AD36AAB58F3D}"/>
          </ac:spMkLst>
        </pc:spChg>
        <pc:spChg chg="add mod">
          <ac:chgData name="Guest User" userId="S::urn:spo:anon#bc72e6c931b442e1b83d9d7baffb28dcb7bee849e2d9a5e2bb7cc25170a1c113::" providerId="AD" clId="Web-{237A05A1-EC18-7DB7-BCDB-3B0904F2EFC6}" dt="2022-03-21T22:31:57.457" v="127" actId="1076"/>
          <ac:spMkLst>
            <pc:docMk/>
            <pc:sldMk cId="1639760722" sldId="344"/>
            <ac:spMk id="15" creationId="{E539B02A-95E4-440D-9E22-F138643D2C89}"/>
          </ac:spMkLst>
        </pc:spChg>
        <pc:spChg chg="mod">
          <ac:chgData name="Guest User" userId="S::urn:spo:anon#bc72e6c931b442e1b83d9d7baffb28dcb7bee849e2d9a5e2bb7cc25170a1c113::" providerId="AD" clId="Web-{237A05A1-EC18-7DB7-BCDB-3B0904F2EFC6}" dt="2022-03-21T22:35:28.010" v="191" actId="20577"/>
          <ac:spMkLst>
            <pc:docMk/>
            <pc:sldMk cId="1639760722" sldId="344"/>
            <ac:spMk id="16" creationId="{F29BBF2D-5F15-45EC-BE2A-14ABF1E18DB5}"/>
          </ac:spMkLst>
        </pc:spChg>
      </pc:sldChg>
      <pc:sldChg chg="addSp delSp modSp">
        <pc:chgData name="Guest User" userId="S::urn:spo:anon#bc72e6c931b442e1b83d9d7baffb28dcb7bee849e2d9a5e2bb7cc25170a1c113::" providerId="AD" clId="Web-{237A05A1-EC18-7DB7-BCDB-3B0904F2EFC6}" dt="2022-03-21T23:12:55.597" v="399" actId="20577"/>
        <pc:sldMkLst>
          <pc:docMk/>
          <pc:sldMk cId="2963563579" sldId="348"/>
        </pc:sldMkLst>
        <pc:spChg chg="add ord">
          <ac:chgData name="Guest User" userId="S::urn:spo:anon#bc72e6c931b442e1b83d9d7baffb28dcb7bee849e2d9a5e2bb7cc25170a1c113::" providerId="AD" clId="Web-{237A05A1-EC18-7DB7-BCDB-3B0904F2EFC6}" dt="2022-03-21T23:01:12.388" v="261"/>
          <ac:spMkLst>
            <pc:docMk/>
            <pc:sldMk cId="2963563579" sldId="348"/>
            <ac:spMk id="7" creationId="{F181CFD1-6012-47A6-96D4-5E27FA218921}"/>
          </ac:spMkLst>
        </pc:spChg>
        <pc:spChg chg="add mod">
          <ac:chgData name="Guest User" userId="S::urn:spo:anon#bc72e6c931b442e1b83d9d7baffb28dcb7bee849e2d9a5e2bb7cc25170a1c113::" providerId="AD" clId="Web-{237A05A1-EC18-7DB7-BCDB-3B0904F2EFC6}" dt="2022-03-21T23:12:55.597" v="399" actId="20577"/>
          <ac:spMkLst>
            <pc:docMk/>
            <pc:sldMk cId="2963563579" sldId="348"/>
            <ac:spMk id="8" creationId="{63314686-1D13-4553-B700-6ED15E618005}"/>
          </ac:spMkLst>
        </pc:spChg>
        <pc:spChg chg="del mod">
          <ac:chgData name="Guest User" userId="S::urn:spo:anon#bc72e6c931b442e1b83d9d7baffb28dcb7bee849e2d9a5e2bb7cc25170a1c113::" providerId="AD" clId="Web-{237A05A1-EC18-7DB7-BCDB-3B0904F2EFC6}" dt="2022-03-21T23:01:39.030" v="268"/>
          <ac:spMkLst>
            <pc:docMk/>
            <pc:sldMk cId="2963563579" sldId="348"/>
            <ac:spMk id="13" creationId="{8AA9B512-3C2F-4929-A53B-DC613CCD9E7D}"/>
          </ac:spMkLst>
        </pc:spChg>
        <pc:spChg chg="mod">
          <ac:chgData name="Guest User" userId="S::urn:spo:anon#bc72e6c931b442e1b83d9d7baffb28dcb7bee849e2d9a5e2bb7cc25170a1c113::" providerId="AD" clId="Web-{237A05A1-EC18-7DB7-BCDB-3B0904F2EFC6}" dt="2022-03-21T23:08:21.338" v="364" actId="1076"/>
          <ac:spMkLst>
            <pc:docMk/>
            <pc:sldMk cId="2963563579" sldId="348"/>
            <ac:spMk id="14" creationId="{314EDFE2-8825-44A8-A59E-C5A6A5FD2E50}"/>
          </ac:spMkLst>
        </pc:spChg>
        <pc:spChg chg="mod">
          <ac:chgData name="Guest User" userId="S::urn:spo:anon#bc72e6c931b442e1b83d9d7baffb28dcb7bee849e2d9a5e2bb7cc25170a1c113::" providerId="AD" clId="Web-{237A05A1-EC18-7DB7-BCDB-3B0904F2EFC6}" dt="2022-03-21T23:08:16.854" v="363" actId="20577"/>
          <ac:spMkLst>
            <pc:docMk/>
            <pc:sldMk cId="2963563579" sldId="348"/>
            <ac:spMk id="601" creationId="{00000000-0000-0000-0000-000000000000}"/>
          </ac:spMkLst>
        </pc:spChg>
        <pc:picChg chg="add mod">
          <ac:chgData name="Guest User" userId="S::urn:spo:anon#bc72e6c931b442e1b83d9d7baffb28dcb7bee849e2d9a5e2bb7cc25170a1c113::" providerId="AD" clId="Web-{237A05A1-EC18-7DB7-BCDB-3B0904F2EFC6}" dt="2022-03-21T23:01:59.530" v="276" actId="1076"/>
          <ac:picMkLst>
            <pc:docMk/>
            <pc:sldMk cId="2963563579" sldId="348"/>
            <ac:picMk id="5" creationId="{0EC0F891-55BF-4D55-8E8B-B53DA8C4E767}"/>
          </ac:picMkLst>
        </pc:picChg>
        <pc:picChg chg="add mod">
          <ac:chgData name="Guest User" userId="S::urn:spo:anon#bc72e6c931b442e1b83d9d7baffb28dcb7bee849e2d9a5e2bb7cc25170a1c113::" providerId="AD" clId="Web-{237A05A1-EC18-7DB7-BCDB-3B0904F2EFC6}" dt="2022-03-21T23:01:59.686" v="277" actId="1076"/>
          <ac:picMkLst>
            <pc:docMk/>
            <pc:sldMk cId="2963563579" sldId="348"/>
            <ac:picMk id="6" creationId="{EDE8B35B-47B6-4765-BFAE-21B063BC34CB}"/>
          </ac:picMkLst>
        </pc:picChg>
      </pc:sldChg>
      <pc:sldChg chg="del">
        <pc:chgData name="Guest User" userId="S::urn:spo:anon#bc72e6c931b442e1b83d9d7baffb28dcb7bee849e2d9a5e2bb7cc25170a1c113::" providerId="AD" clId="Web-{237A05A1-EC18-7DB7-BCDB-3B0904F2EFC6}" dt="2022-03-22T15:28:58.372" v="400"/>
        <pc:sldMkLst>
          <pc:docMk/>
          <pc:sldMk cId="3576351713" sldId="354"/>
        </pc:sldMkLst>
      </pc:sldChg>
      <pc:sldChg chg="addSp delSp modSp add replId">
        <pc:chgData name="Guest User" userId="S::urn:spo:anon#bc72e6c931b442e1b83d9d7baffb28dcb7bee849e2d9a5e2bb7cc25170a1c113::" providerId="AD" clId="Web-{237A05A1-EC18-7DB7-BCDB-3B0904F2EFC6}" dt="2022-03-21T22:36:27.152" v="201" actId="20577"/>
        <pc:sldMkLst>
          <pc:docMk/>
          <pc:sldMk cId="4017139295" sldId="356"/>
        </pc:sldMkLst>
        <pc:spChg chg="add del">
          <ac:chgData name="Guest User" userId="S::urn:spo:anon#bc72e6c931b442e1b83d9d7baffb28dcb7bee849e2d9a5e2bb7cc25170a1c113::" providerId="AD" clId="Web-{237A05A1-EC18-7DB7-BCDB-3B0904F2EFC6}" dt="2022-03-21T22:33:20.803" v="157"/>
          <ac:spMkLst>
            <pc:docMk/>
            <pc:sldMk cId="4017139295" sldId="356"/>
            <ac:spMk id="5" creationId="{83708C2C-6916-40DA-AC62-A77ABDDF224D}"/>
          </ac:spMkLst>
        </pc:spChg>
        <pc:spChg chg="mod">
          <ac:chgData name="Guest User" userId="S::urn:spo:anon#bc72e6c931b442e1b83d9d7baffb28dcb7bee849e2d9a5e2bb7cc25170a1c113::" providerId="AD" clId="Web-{237A05A1-EC18-7DB7-BCDB-3B0904F2EFC6}" dt="2022-03-21T22:36:27.152" v="201" actId="20577"/>
          <ac:spMkLst>
            <pc:docMk/>
            <pc:sldMk cId="4017139295" sldId="356"/>
            <ac:spMk id="15" creationId="{E539B02A-95E4-440D-9E22-F138643D2C89}"/>
          </ac:spMkLst>
        </pc:spChg>
        <pc:spChg chg="mod">
          <ac:chgData name="Guest User" userId="S::urn:spo:anon#bc72e6c931b442e1b83d9d7baffb28dcb7bee849e2d9a5e2bb7cc25170a1c113::" providerId="AD" clId="Web-{237A05A1-EC18-7DB7-BCDB-3B0904F2EFC6}" dt="2022-03-21T22:35:56.105" v="197" actId="20577"/>
          <ac:spMkLst>
            <pc:docMk/>
            <pc:sldMk cId="4017139295" sldId="356"/>
            <ac:spMk id="16" creationId="{F29BBF2D-5F15-45EC-BE2A-14ABF1E18DB5}"/>
          </ac:spMkLst>
        </pc:spChg>
      </pc:sldChg>
      <pc:sldChg chg="modSp add replId">
        <pc:chgData name="Guest User" userId="S::urn:spo:anon#bc72e6c931b442e1b83d9d7baffb28dcb7bee849e2d9a5e2bb7cc25170a1c113::" providerId="AD" clId="Web-{237A05A1-EC18-7DB7-BCDB-3B0904F2EFC6}" dt="2022-03-21T22:38:03.546" v="240" actId="20577"/>
        <pc:sldMkLst>
          <pc:docMk/>
          <pc:sldMk cId="73800528" sldId="357"/>
        </pc:sldMkLst>
        <pc:spChg chg="mod">
          <ac:chgData name="Guest User" userId="S::urn:spo:anon#bc72e6c931b442e1b83d9d7baffb28dcb7bee849e2d9a5e2bb7cc25170a1c113::" providerId="AD" clId="Web-{237A05A1-EC18-7DB7-BCDB-3B0904F2EFC6}" dt="2022-03-21T22:38:03.546" v="240" actId="20577"/>
          <ac:spMkLst>
            <pc:docMk/>
            <pc:sldMk cId="73800528" sldId="357"/>
            <ac:spMk id="15" creationId="{E539B02A-95E4-440D-9E22-F138643D2C89}"/>
          </ac:spMkLst>
        </pc:spChg>
        <pc:spChg chg="mod">
          <ac:chgData name="Guest User" userId="S::urn:spo:anon#bc72e6c931b442e1b83d9d7baffb28dcb7bee849e2d9a5e2bb7cc25170a1c113::" providerId="AD" clId="Web-{237A05A1-EC18-7DB7-BCDB-3B0904F2EFC6}" dt="2022-03-21T22:37:29.498" v="233" actId="20577"/>
          <ac:spMkLst>
            <pc:docMk/>
            <pc:sldMk cId="73800528" sldId="357"/>
            <ac:spMk id="16" creationId="{F29BBF2D-5F15-45EC-BE2A-14ABF1E18DB5}"/>
          </ac:spMkLst>
        </pc:spChg>
      </pc:sldChg>
      <pc:sldChg chg="addSp delSp modSp add replId modTransition">
        <pc:chgData name="Guest User" userId="S::urn:spo:anon#bc72e6c931b442e1b83d9d7baffb28dcb7bee849e2d9a5e2bb7cc25170a1c113::" providerId="AD" clId="Web-{237A05A1-EC18-7DB7-BCDB-3B0904F2EFC6}" dt="2022-03-22T15:39:06.793" v="410"/>
        <pc:sldMkLst>
          <pc:docMk/>
          <pc:sldMk cId="2689461321" sldId="358"/>
        </pc:sldMkLst>
        <pc:spChg chg="del">
          <ac:chgData name="Guest User" userId="S::urn:spo:anon#bc72e6c931b442e1b83d9d7baffb28dcb7bee849e2d9a5e2bb7cc25170a1c113::" providerId="AD" clId="Web-{237A05A1-EC18-7DB7-BCDB-3B0904F2EFC6}" dt="2022-03-21T23:02:31.031" v="286"/>
          <ac:spMkLst>
            <pc:docMk/>
            <pc:sldMk cId="2689461321" sldId="358"/>
            <ac:spMk id="2" creationId="{5D848F27-C40A-4D17-BE99-A612AC2419F4}"/>
          </ac:spMkLst>
        </pc:spChg>
        <pc:spChg chg="del">
          <ac:chgData name="Guest User" userId="S::urn:spo:anon#bc72e6c931b442e1b83d9d7baffb28dcb7bee849e2d9a5e2bb7cc25170a1c113::" providerId="AD" clId="Web-{237A05A1-EC18-7DB7-BCDB-3B0904F2EFC6}" dt="2022-03-21T23:02:27.031" v="284"/>
          <ac:spMkLst>
            <pc:docMk/>
            <pc:sldMk cId="2689461321" sldId="358"/>
            <ac:spMk id="3" creationId="{AC311647-2B4D-4E6C-81D1-9F8580567C0E}"/>
          </ac:spMkLst>
        </pc:spChg>
        <pc:spChg chg="del">
          <ac:chgData name="Guest User" userId="S::urn:spo:anon#bc72e6c931b442e1b83d9d7baffb28dcb7bee849e2d9a5e2bb7cc25170a1c113::" providerId="AD" clId="Web-{237A05A1-EC18-7DB7-BCDB-3B0904F2EFC6}" dt="2022-03-21T23:02:21.453" v="281"/>
          <ac:spMkLst>
            <pc:docMk/>
            <pc:sldMk cId="2689461321" sldId="358"/>
            <ac:spMk id="4" creationId="{24BB1A01-A250-4A43-8E6D-77C6D0C6D6C5}"/>
          </ac:spMkLst>
        </pc:spChg>
        <pc:spChg chg="mod">
          <ac:chgData name="Guest User" userId="S::urn:spo:anon#bc72e6c931b442e1b83d9d7baffb28dcb7bee849e2d9a5e2bb7cc25170a1c113::" providerId="AD" clId="Web-{237A05A1-EC18-7DB7-BCDB-3B0904F2EFC6}" dt="2022-03-21T23:03:14.329" v="296" actId="14100"/>
          <ac:spMkLst>
            <pc:docMk/>
            <pc:sldMk cId="2689461321" sldId="358"/>
            <ac:spMk id="7" creationId="{F181CFD1-6012-47A6-96D4-5E27FA218921}"/>
          </ac:spMkLst>
        </pc:spChg>
        <pc:spChg chg="add del mod">
          <ac:chgData name="Guest User" userId="S::urn:spo:anon#bc72e6c931b442e1b83d9d7baffb28dcb7bee849e2d9a5e2bb7cc25170a1c113::" providerId="AD" clId="Web-{237A05A1-EC18-7DB7-BCDB-3B0904F2EFC6}" dt="2022-03-21T23:05:54.303" v="340"/>
          <ac:spMkLst>
            <pc:docMk/>
            <pc:sldMk cId="2689461321" sldId="358"/>
            <ac:spMk id="8" creationId="{917AAFED-4D22-4DB3-8AA1-832F1C79E612}"/>
          </ac:spMkLst>
        </pc:spChg>
        <pc:spChg chg="del">
          <ac:chgData name="Guest User" userId="S::urn:spo:anon#bc72e6c931b442e1b83d9d7baffb28dcb7bee849e2d9a5e2bb7cc25170a1c113::" providerId="AD" clId="Web-{237A05A1-EC18-7DB7-BCDB-3B0904F2EFC6}" dt="2022-03-21T23:02:15.921" v="279"/>
          <ac:spMkLst>
            <pc:docMk/>
            <pc:sldMk cId="2689461321" sldId="358"/>
            <ac:spMk id="14" creationId="{314EDFE2-8825-44A8-A59E-C5A6A5FD2E50}"/>
          </ac:spMkLst>
        </pc:spChg>
        <pc:spChg chg="add del mod">
          <ac:chgData name="Guest User" userId="S::urn:spo:anon#bc72e6c931b442e1b83d9d7baffb28dcb7bee849e2d9a5e2bb7cc25170a1c113::" providerId="AD" clId="Web-{237A05A1-EC18-7DB7-BCDB-3B0904F2EFC6}" dt="2022-03-21T23:05:54.303" v="339"/>
          <ac:spMkLst>
            <pc:docMk/>
            <pc:sldMk cId="2689461321" sldId="358"/>
            <ac:spMk id="16" creationId="{22FA641D-CFF4-43A8-BC35-BEB1F29FF584}"/>
          </ac:spMkLst>
        </pc:spChg>
        <pc:spChg chg="add del mod">
          <ac:chgData name="Guest User" userId="S::urn:spo:anon#bc72e6c931b442e1b83d9d7baffb28dcb7bee849e2d9a5e2bb7cc25170a1c113::" providerId="AD" clId="Web-{237A05A1-EC18-7DB7-BCDB-3B0904F2EFC6}" dt="2022-03-21T23:04:47.504" v="320"/>
          <ac:spMkLst>
            <pc:docMk/>
            <pc:sldMk cId="2689461321" sldId="358"/>
            <ac:spMk id="17" creationId="{FB1C6A50-E76A-450D-BD65-C9CCD0BF3031}"/>
          </ac:spMkLst>
        </pc:spChg>
        <pc:spChg chg="add del mod">
          <ac:chgData name="Guest User" userId="S::urn:spo:anon#bc72e6c931b442e1b83d9d7baffb28dcb7bee849e2d9a5e2bb7cc25170a1c113::" providerId="AD" clId="Web-{237A05A1-EC18-7DB7-BCDB-3B0904F2EFC6}" dt="2022-03-21T23:05:54.303" v="338"/>
          <ac:spMkLst>
            <pc:docMk/>
            <pc:sldMk cId="2689461321" sldId="358"/>
            <ac:spMk id="18" creationId="{47DC6DE7-60B9-4E99-AEB0-4D2BBD83C335}"/>
          </ac:spMkLst>
        </pc:spChg>
        <pc:spChg chg="del">
          <ac:chgData name="Guest User" userId="S::urn:spo:anon#bc72e6c931b442e1b83d9d7baffb28dcb7bee849e2d9a5e2bb7cc25170a1c113::" providerId="AD" clId="Web-{237A05A1-EC18-7DB7-BCDB-3B0904F2EFC6}" dt="2022-03-21T23:02:31.094" v="287"/>
          <ac:spMkLst>
            <pc:docMk/>
            <pc:sldMk cId="2689461321" sldId="358"/>
            <ac:spMk id="599" creationId="{00000000-0000-0000-0000-000000000000}"/>
          </ac:spMkLst>
        </pc:spChg>
        <pc:spChg chg="del">
          <ac:chgData name="Guest User" userId="S::urn:spo:anon#bc72e6c931b442e1b83d9d7baffb28dcb7bee849e2d9a5e2bb7cc25170a1c113::" providerId="AD" clId="Web-{237A05A1-EC18-7DB7-BCDB-3B0904F2EFC6}" dt="2022-03-21T23:02:18.968" v="280"/>
          <ac:spMkLst>
            <pc:docMk/>
            <pc:sldMk cId="2689461321" sldId="358"/>
            <ac:spMk id="601" creationId="{00000000-0000-0000-0000-000000000000}"/>
          </ac:spMkLst>
        </pc:spChg>
        <pc:spChg chg="del topLvl">
          <ac:chgData name="Guest User" userId="S::urn:spo:anon#bc72e6c931b442e1b83d9d7baffb28dcb7bee849e2d9a5e2bb7cc25170a1c113::" providerId="AD" clId="Web-{237A05A1-EC18-7DB7-BCDB-3B0904F2EFC6}" dt="2022-03-21T23:02:24.406" v="283"/>
          <ac:spMkLst>
            <pc:docMk/>
            <pc:sldMk cId="2689461321" sldId="358"/>
            <ac:spMk id="603" creationId="{00000000-0000-0000-0000-000000000000}"/>
          </ac:spMkLst>
        </pc:spChg>
        <pc:spChg chg="del topLvl">
          <ac:chgData name="Guest User" userId="S::urn:spo:anon#bc72e6c931b442e1b83d9d7baffb28dcb7bee849e2d9a5e2bb7cc25170a1c113::" providerId="AD" clId="Web-{237A05A1-EC18-7DB7-BCDB-3B0904F2EFC6}" dt="2022-03-21T23:02:21.484" v="282"/>
          <ac:spMkLst>
            <pc:docMk/>
            <pc:sldMk cId="2689461321" sldId="358"/>
            <ac:spMk id="604" creationId="{00000000-0000-0000-0000-000000000000}"/>
          </ac:spMkLst>
        </pc:spChg>
        <pc:spChg chg="del">
          <ac:chgData name="Guest User" userId="S::urn:spo:anon#bc72e6c931b442e1b83d9d7baffb28dcb7bee849e2d9a5e2bb7cc25170a1c113::" providerId="AD" clId="Web-{237A05A1-EC18-7DB7-BCDB-3B0904F2EFC6}" dt="2022-03-21T23:02:29.047" v="285"/>
          <ac:spMkLst>
            <pc:docMk/>
            <pc:sldMk cId="2689461321" sldId="358"/>
            <ac:spMk id="609" creationId="{00000000-0000-0000-0000-000000000000}"/>
          </ac:spMkLst>
        </pc:spChg>
        <pc:grpChg chg="del">
          <ac:chgData name="Guest User" userId="S::urn:spo:anon#bc72e6c931b442e1b83d9d7baffb28dcb7bee849e2d9a5e2bb7cc25170a1c113::" providerId="AD" clId="Web-{237A05A1-EC18-7DB7-BCDB-3B0904F2EFC6}" dt="2022-03-21T23:02:21.484" v="282"/>
          <ac:grpSpMkLst>
            <pc:docMk/>
            <pc:sldMk cId="2689461321" sldId="358"/>
            <ac:grpSpMk id="602" creationId="{00000000-0000-0000-0000-000000000000}"/>
          </ac:grpSpMkLst>
        </pc:grpChg>
        <pc:picChg chg="mod">
          <ac:chgData name="Guest User" userId="S::urn:spo:anon#bc72e6c931b442e1b83d9d7baffb28dcb7bee849e2d9a5e2bb7cc25170a1c113::" providerId="AD" clId="Web-{237A05A1-EC18-7DB7-BCDB-3B0904F2EFC6}" dt="2022-03-21T23:05:45.412" v="337" actId="14100"/>
          <ac:picMkLst>
            <pc:docMk/>
            <pc:sldMk cId="2689461321" sldId="358"/>
            <ac:picMk id="5" creationId="{0EC0F891-55BF-4D55-8E8B-B53DA8C4E767}"/>
          </ac:picMkLst>
        </pc:picChg>
        <pc:picChg chg="mod">
          <ac:chgData name="Guest User" userId="S::urn:spo:anon#bc72e6c931b442e1b83d9d7baffb28dcb7bee849e2d9a5e2bb7cc25170a1c113::" providerId="AD" clId="Web-{237A05A1-EC18-7DB7-BCDB-3B0904F2EFC6}" dt="2022-03-21T23:05:37.615" v="335" actId="1076"/>
          <ac:picMkLst>
            <pc:docMk/>
            <pc:sldMk cId="2689461321" sldId="358"/>
            <ac:picMk id="6" creationId="{EDE8B35B-47B6-4765-BFAE-21B063BC34CB}"/>
          </ac:picMkLst>
        </pc:picChg>
        <pc:picChg chg="add del mod">
          <ac:chgData name="Guest User" userId="S::urn:spo:anon#bc72e6c931b442e1b83d9d7baffb28dcb7bee849e2d9a5e2bb7cc25170a1c113::" providerId="AD" clId="Web-{237A05A1-EC18-7DB7-BCDB-3B0904F2EFC6}" dt="2022-03-21T23:04:38.691" v="319"/>
          <ac:picMkLst>
            <pc:docMk/>
            <pc:sldMk cId="2689461321" sldId="358"/>
            <ac:picMk id="19" creationId="{EFD4BC19-AF20-476C-9A01-E83FF5CB5998}"/>
          </ac:picMkLst>
        </pc:picChg>
      </pc:sldChg>
      <pc:sldChg chg="addSp delSp modSp add del replId">
        <pc:chgData name="Guest User" userId="S::urn:spo:anon#bc72e6c931b442e1b83d9d7baffb28dcb7bee849e2d9a5e2bb7cc25170a1c113::" providerId="AD" clId="Web-{237A05A1-EC18-7DB7-BCDB-3B0904F2EFC6}" dt="2022-03-22T15:39:34.356" v="412"/>
        <pc:sldMkLst>
          <pc:docMk/>
          <pc:sldMk cId="3173610986" sldId="359"/>
        </pc:sldMkLst>
        <pc:spChg chg="add del mod">
          <ac:chgData name="Guest User" userId="S::urn:spo:anon#bc72e6c931b442e1b83d9d7baffb28dcb7bee849e2d9a5e2bb7cc25170a1c113::" providerId="AD" clId="Web-{237A05A1-EC18-7DB7-BCDB-3B0904F2EFC6}" dt="2022-03-21T23:07:49.228" v="359"/>
          <ac:spMkLst>
            <pc:docMk/>
            <pc:sldMk cId="3173610986" sldId="359"/>
            <ac:spMk id="2" creationId="{B4BE663D-B787-4CAF-AD8F-CB19D97021FC}"/>
          </ac:spMkLst>
        </pc:spChg>
        <pc:spChg chg="mod">
          <ac:chgData name="Guest User" userId="S::urn:spo:anon#bc72e6c931b442e1b83d9d7baffb28dcb7bee849e2d9a5e2bb7cc25170a1c113::" providerId="AD" clId="Web-{237A05A1-EC18-7DB7-BCDB-3B0904F2EFC6}" dt="2022-03-21T23:07:23.774" v="354" actId="1076"/>
          <ac:spMkLst>
            <pc:docMk/>
            <pc:sldMk cId="3173610986" sldId="359"/>
            <ac:spMk id="7" creationId="{F181CFD1-6012-47A6-96D4-5E27FA218921}"/>
          </ac:spMkLst>
        </pc:spChg>
        <pc:picChg chg="mod">
          <ac:chgData name="Guest User" userId="S::urn:spo:anon#bc72e6c931b442e1b83d9d7baffb28dcb7bee849e2d9a5e2bb7cc25170a1c113::" providerId="AD" clId="Web-{237A05A1-EC18-7DB7-BCDB-3B0904F2EFC6}" dt="2022-03-21T23:07:47.009" v="358" actId="1076"/>
          <ac:picMkLst>
            <pc:docMk/>
            <pc:sldMk cId="3173610986" sldId="359"/>
            <ac:picMk id="5" creationId="{0EC0F891-55BF-4D55-8E8B-B53DA8C4E767}"/>
          </ac:picMkLst>
        </pc:picChg>
        <pc:picChg chg="mod">
          <ac:chgData name="Guest User" userId="S::urn:spo:anon#bc72e6c931b442e1b83d9d7baffb28dcb7bee849e2d9a5e2bb7cc25170a1c113::" providerId="AD" clId="Web-{237A05A1-EC18-7DB7-BCDB-3B0904F2EFC6}" dt="2022-03-21T23:07:44.212" v="357" actId="1076"/>
          <ac:picMkLst>
            <pc:docMk/>
            <pc:sldMk cId="3173610986" sldId="359"/>
            <ac:picMk id="6" creationId="{EDE8B35B-47B6-4765-BFAE-21B063BC34CB}"/>
          </ac:picMkLst>
        </pc:picChg>
      </pc:sldChg>
      <pc:sldChg chg="modSp add replId modTransition">
        <pc:chgData name="Guest User" userId="S::urn:spo:anon#bc72e6c931b442e1b83d9d7baffb28dcb7bee849e2d9a5e2bb7cc25170a1c113::" providerId="AD" clId="Web-{237A05A1-EC18-7DB7-BCDB-3B0904F2EFC6}" dt="2022-03-22T15:39:06.793" v="411"/>
        <pc:sldMkLst>
          <pc:docMk/>
          <pc:sldMk cId="3608811986" sldId="360"/>
        </pc:sldMkLst>
        <pc:picChg chg="mod">
          <ac:chgData name="Guest User" userId="S::urn:spo:anon#bc72e6c931b442e1b83d9d7baffb28dcb7bee849e2d9a5e2bb7cc25170a1c113::" providerId="AD" clId="Web-{237A05A1-EC18-7DB7-BCDB-3B0904F2EFC6}" dt="2022-03-22T15:38:33.901" v="404" actId="1076"/>
          <ac:picMkLst>
            <pc:docMk/>
            <pc:sldMk cId="3608811986" sldId="360"/>
            <ac:picMk id="6" creationId="{EDE8B35B-47B6-4765-BFAE-21B063BC34CB}"/>
          </ac:picMkLst>
        </pc:picChg>
      </pc:sldChg>
    </pc:docChg>
  </pc:docChgLst>
  <pc:docChgLst>
    <pc:chgData name="Guest User" userId="S::urn:spo:anon#c437c167f923f422528aee73b5e70e5726914197d2dec7f210a84ae49e8498a7::" providerId="AD" clId="Web-{8BFE9592-C905-ED58-3DFA-3E3F28878378}"/>
    <pc:docChg chg="modSld">
      <pc:chgData name="Guest User" userId="S::urn:spo:anon#c437c167f923f422528aee73b5e70e5726914197d2dec7f210a84ae49e8498a7::" providerId="AD" clId="Web-{8BFE9592-C905-ED58-3DFA-3E3F28878378}" dt="2022-04-05T00:43:54.162" v="372" actId="14100"/>
      <pc:docMkLst>
        <pc:docMk/>
      </pc:docMkLst>
      <pc:sldChg chg="delSp modSp">
        <pc:chgData name="Guest User" userId="S::urn:spo:anon#c437c167f923f422528aee73b5e70e5726914197d2dec7f210a84ae49e8498a7::" providerId="AD" clId="Web-{8BFE9592-C905-ED58-3DFA-3E3F28878378}" dt="2022-04-05T00:26:27.459" v="206"/>
        <pc:sldMkLst>
          <pc:docMk/>
          <pc:sldMk cId="3210015788" sldId="303"/>
        </pc:sldMkLst>
        <pc:spChg chg="del">
          <ac:chgData name="Guest User" userId="S::urn:spo:anon#c437c167f923f422528aee73b5e70e5726914197d2dec7f210a84ae49e8498a7::" providerId="AD" clId="Web-{8BFE9592-C905-ED58-3DFA-3E3F28878378}" dt="2022-04-05T00:26:27.459" v="206"/>
          <ac:spMkLst>
            <pc:docMk/>
            <pc:sldMk cId="3210015788" sldId="303"/>
            <ac:spMk id="25" creationId="{33379683-EB1F-4B6F-948D-4D47193E44D8}"/>
          </ac:spMkLst>
        </pc:spChg>
        <pc:spChg chg="mod">
          <ac:chgData name="Guest User" userId="S::urn:spo:anon#c437c167f923f422528aee73b5e70e5726914197d2dec7f210a84ae49e8498a7::" providerId="AD" clId="Web-{8BFE9592-C905-ED58-3DFA-3E3F28878378}" dt="2022-04-05T00:23:30.251" v="154" actId="20577"/>
          <ac:spMkLst>
            <pc:docMk/>
            <pc:sldMk cId="3210015788" sldId="303"/>
            <ac:spMk id="29" creationId="{9EDE1D44-C442-44A3-A246-C666D0FC9506}"/>
          </ac:spMkLst>
        </pc:spChg>
        <pc:spChg chg="mod">
          <ac:chgData name="Guest User" userId="S::urn:spo:anon#c437c167f923f422528aee73b5e70e5726914197d2dec7f210a84ae49e8498a7::" providerId="AD" clId="Web-{8BFE9592-C905-ED58-3DFA-3E3F28878378}" dt="2022-04-05T00:25:36.520" v="188" actId="20577"/>
          <ac:spMkLst>
            <pc:docMk/>
            <pc:sldMk cId="3210015788" sldId="303"/>
            <ac:spMk id="30" creationId="{F5E6A857-939B-428F-8E38-79E7432F9239}"/>
          </ac:spMkLst>
        </pc:spChg>
        <pc:spChg chg="mod">
          <ac:chgData name="Guest User" userId="S::urn:spo:anon#c437c167f923f422528aee73b5e70e5726914197d2dec7f210a84ae49e8498a7::" providerId="AD" clId="Web-{8BFE9592-C905-ED58-3DFA-3E3F28878378}" dt="2022-04-05T00:26:25.194" v="205" actId="20577"/>
          <ac:spMkLst>
            <pc:docMk/>
            <pc:sldMk cId="3210015788" sldId="303"/>
            <ac:spMk id="482" creationId="{00000000-0000-0000-0000-000000000000}"/>
          </ac:spMkLst>
        </pc:spChg>
      </pc:sldChg>
      <pc:sldChg chg="addSp delSp modSp">
        <pc:chgData name="Guest User" userId="S::urn:spo:anon#c437c167f923f422528aee73b5e70e5726914197d2dec7f210a84ae49e8498a7::" providerId="AD" clId="Web-{8BFE9592-C905-ED58-3DFA-3E3F28878378}" dt="2022-04-05T00:43:54.162" v="372" actId="14100"/>
        <pc:sldMkLst>
          <pc:docMk/>
          <pc:sldMk cId="604654217" sldId="375"/>
        </pc:sldMkLst>
        <pc:spChg chg="del">
          <ac:chgData name="Guest User" userId="S::urn:spo:anon#c437c167f923f422528aee73b5e70e5726914197d2dec7f210a84ae49e8498a7::" providerId="AD" clId="Web-{8BFE9592-C905-ED58-3DFA-3E3F28878378}" dt="2022-04-05T00:42:06.268" v="366"/>
          <ac:spMkLst>
            <pc:docMk/>
            <pc:sldMk cId="604654217" sldId="375"/>
            <ac:spMk id="9" creationId="{A559BC09-4387-488E-85BC-CBE75B1CE17C}"/>
          </ac:spMkLst>
        </pc:spChg>
        <pc:picChg chg="del">
          <ac:chgData name="Guest User" userId="S::urn:spo:anon#c437c167f923f422528aee73b5e70e5726914197d2dec7f210a84ae49e8498a7::" providerId="AD" clId="Web-{8BFE9592-C905-ED58-3DFA-3E3F28878378}" dt="2022-04-05T00:43:19.676" v="367"/>
          <ac:picMkLst>
            <pc:docMk/>
            <pc:sldMk cId="604654217" sldId="375"/>
            <ac:picMk id="10" creationId="{D00B0523-674C-CC99-F2A4-607C8B5BBE87}"/>
          </ac:picMkLst>
        </pc:picChg>
        <pc:picChg chg="add mod">
          <ac:chgData name="Guest User" userId="S::urn:spo:anon#c437c167f923f422528aee73b5e70e5726914197d2dec7f210a84ae49e8498a7::" providerId="AD" clId="Web-{8BFE9592-C905-ED58-3DFA-3E3F28878378}" dt="2022-04-05T00:43:54.162" v="372" actId="14100"/>
          <ac:picMkLst>
            <pc:docMk/>
            <pc:sldMk cId="604654217" sldId="375"/>
            <ac:picMk id="14" creationId="{CEC8603A-E559-D88F-8BB6-20BE147D64A6}"/>
          </ac:picMkLst>
        </pc:picChg>
        <pc:cxnChg chg="mod">
          <ac:chgData name="Guest User" userId="S::urn:spo:anon#c437c167f923f422528aee73b5e70e5726914197d2dec7f210a84ae49e8498a7::" providerId="AD" clId="Web-{8BFE9592-C905-ED58-3DFA-3E3F28878378}" dt="2022-04-05T00:41:29.829" v="362" actId="1076"/>
          <ac:cxnSpMkLst>
            <pc:docMk/>
            <pc:sldMk cId="604654217" sldId="375"/>
            <ac:cxnSpMk id="11" creationId="{80DA06C6-E09C-08BC-D6FB-BC20D8957044}"/>
          </ac:cxnSpMkLst>
        </pc:cxnChg>
        <pc:cxnChg chg="mod">
          <ac:chgData name="Guest User" userId="S::urn:spo:anon#c437c167f923f422528aee73b5e70e5726914197d2dec7f210a84ae49e8498a7::" providerId="AD" clId="Web-{8BFE9592-C905-ED58-3DFA-3E3F28878378}" dt="2022-04-05T00:41:40.377" v="363" actId="1076"/>
          <ac:cxnSpMkLst>
            <pc:docMk/>
            <pc:sldMk cId="604654217" sldId="375"/>
            <ac:cxnSpMk id="12" creationId="{77793D15-5876-2206-449B-4B1F41AFE012}"/>
          </ac:cxnSpMkLst>
        </pc:cxnChg>
        <pc:cxnChg chg="mod">
          <ac:chgData name="Guest User" userId="S::urn:spo:anon#c437c167f923f422528aee73b5e70e5726914197d2dec7f210a84ae49e8498a7::" providerId="AD" clId="Web-{8BFE9592-C905-ED58-3DFA-3E3F28878378}" dt="2022-04-05T00:41:55.018" v="365" actId="1076"/>
          <ac:cxnSpMkLst>
            <pc:docMk/>
            <pc:sldMk cId="604654217" sldId="375"/>
            <ac:cxnSpMk id="13" creationId="{70D6C415-5AB0-50A0-6B7B-F91A78ED3D34}"/>
          </ac:cxnSpMkLst>
        </pc:cxnChg>
      </pc:sldChg>
      <pc:sldChg chg="addSp delSp modSp">
        <pc:chgData name="Guest User" userId="S::urn:spo:anon#c437c167f923f422528aee73b5e70e5726914197d2dec7f210a84ae49e8498a7::" providerId="AD" clId="Web-{8BFE9592-C905-ED58-3DFA-3E3F28878378}" dt="2022-04-05T00:40:42.578" v="361" actId="20577"/>
        <pc:sldMkLst>
          <pc:docMk/>
          <pc:sldMk cId="108984178" sldId="376"/>
        </pc:sldMkLst>
        <pc:spChg chg="del">
          <ac:chgData name="Guest User" userId="S::urn:spo:anon#c437c167f923f422528aee73b5e70e5726914197d2dec7f210a84ae49e8498a7::" providerId="AD" clId="Web-{8BFE9592-C905-ED58-3DFA-3E3F28878378}" dt="2022-04-05T00:27:11.289" v="208"/>
          <ac:spMkLst>
            <pc:docMk/>
            <pc:sldMk cId="108984178" sldId="376"/>
            <ac:spMk id="100" creationId="{523D7184-991A-457B-AD7E-9585D81AD188}"/>
          </ac:spMkLst>
        </pc:spChg>
        <pc:spChg chg="add del mod">
          <ac:chgData name="Guest User" userId="S::urn:spo:anon#c437c167f923f422528aee73b5e70e5726914197d2dec7f210a84ae49e8498a7::" providerId="AD" clId="Web-{8BFE9592-C905-ED58-3DFA-3E3F28878378}" dt="2022-04-05T00:30:35.717" v="245"/>
          <ac:spMkLst>
            <pc:docMk/>
            <pc:sldMk cId="108984178" sldId="376"/>
            <ac:spMk id="101" creationId="{D507F1C2-8AB0-AC33-0E26-FB1C9236B8F5}"/>
          </ac:spMkLst>
        </pc:spChg>
        <pc:spChg chg="add del mod">
          <ac:chgData name="Guest User" userId="S::urn:spo:anon#c437c167f923f422528aee73b5e70e5726914197d2dec7f210a84ae49e8498a7::" providerId="AD" clId="Web-{8BFE9592-C905-ED58-3DFA-3E3F28878378}" dt="2022-04-05T00:29:36.887" v="237"/>
          <ac:spMkLst>
            <pc:docMk/>
            <pc:sldMk cId="108984178" sldId="376"/>
            <ac:spMk id="102" creationId="{F410FBAC-9994-83F8-0CE3-E8D0E8F93445}"/>
          </ac:spMkLst>
        </pc:spChg>
        <pc:spChg chg="add mod">
          <ac:chgData name="Guest User" userId="S::urn:spo:anon#c437c167f923f422528aee73b5e70e5726914197d2dec7f210a84ae49e8498a7::" providerId="AD" clId="Web-{8BFE9592-C905-ED58-3DFA-3E3F28878378}" dt="2022-04-05T00:31:45.125" v="254" actId="1076"/>
          <ac:spMkLst>
            <pc:docMk/>
            <pc:sldMk cId="108984178" sldId="376"/>
            <ac:spMk id="103" creationId="{BBD84C33-E4EA-5234-5A58-46F795902624}"/>
          </ac:spMkLst>
        </pc:spChg>
        <pc:spChg chg="add mod">
          <ac:chgData name="Guest User" userId="S::urn:spo:anon#c437c167f923f422528aee73b5e70e5726914197d2dec7f210a84ae49e8498a7::" providerId="AD" clId="Web-{8BFE9592-C905-ED58-3DFA-3E3F28878378}" dt="2022-04-05T00:32:11.922" v="267" actId="20577"/>
          <ac:spMkLst>
            <pc:docMk/>
            <pc:sldMk cId="108984178" sldId="376"/>
            <ac:spMk id="104" creationId="{552981D8-50F7-4937-0E3F-BC6E730EC5DF}"/>
          </ac:spMkLst>
        </pc:spChg>
        <pc:spChg chg="add mod">
          <ac:chgData name="Guest User" userId="S::urn:spo:anon#c437c167f923f422528aee73b5e70e5726914197d2dec7f210a84ae49e8498a7::" providerId="AD" clId="Web-{8BFE9592-C905-ED58-3DFA-3E3F28878378}" dt="2022-04-05T00:34:26.583" v="303" actId="14100"/>
          <ac:spMkLst>
            <pc:docMk/>
            <pc:sldMk cId="108984178" sldId="376"/>
            <ac:spMk id="105" creationId="{7081EBAA-86A9-8CF7-28D9-CBE9738124D9}"/>
          </ac:spMkLst>
        </pc:spChg>
        <pc:spChg chg="add mod">
          <ac:chgData name="Guest User" userId="S::urn:spo:anon#c437c167f923f422528aee73b5e70e5726914197d2dec7f210a84ae49e8498a7::" providerId="AD" clId="Web-{8BFE9592-C905-ED58-3DFA-3E3F28878378}" dt="2022-04-05T00:37:06.244" v="324" actId="1076"/>
          <ac:spMkLst>
            <pc:docMk/>
            <pc:sldMk cId="108984178" sldId="376"/>
            <ac:spMk id="106" creationId="{303D77F6-DB63-2FBB-AA42-ABAD423B9571}"/>
          </ac:spMkLst>
        </pc:spChg>
        <pc:spChg chg="add mod">
          <ac:chgData name="Guest User" userId="S::urn:spo:anon#c437c167f923f422528aee73b5e70e5726914197d2dec7f210a84ae49e8498a7::" providerId="AD" clId="Web-{8BFE9592-C905-ED58-3DFA-3E3F28878378}" dt="2022-04-05T00:39:59.749" v="344" actId="14100"/>
          <ac:spMkLst>
            <pc:docMk/>
            <pc:sldMk cId="108984178" sldId="376"/>
            <ac:spMk id="107" creationId="{0A60379C-4FFF-CD73-6CB8-5995C06FE3FB}"/>
          </ac:spMkLst>
        </pc:spChg>
        <pc:spChg chg="add mod">
          <ac:chgData name="Guest User" userId="S::urn:spo:anon#c437c167f923f422528aee73b5e70e5726914197d2dec7f210a84ae49e8498a7::" providerId="AD" clId="Web-{8BFE9592-C905-ED58-3DFA-3E3F28878378}" dt="2022-04-05T00:38:42.996" v="341" actId="20577"/>
          <ac:spMkLst>
            <pc:docMk/>
            <pc:sldMk cId="108984178" sldId="376"/>
            <ac:spMk id="108" creationId="{AF5F9446-B049-9C9E-BC73-D65B274FF91F}"/>
          </ac:spMkLst>
        </pc:spChg>
        <pc:spChg chg="add mod">
          <ac:chgData name="Guest User" userId="S::urn:spo:anon#c437c167f923f422528aee73b5e70e5726914197d2dec7f210a84ae49e8498a7::" providerId="AD" clId="Web-{8BFE9592-C905-ED58-3DFA-3E3F28878378}" dt="2022-04-05T00:40:11.530" v="351" actId="20577"/>
          <ac:spMkLst>
            <pc:docMk/>
            <pc:sldMk cId="108984178" sldId="376"/>
            <ac:spMk id="109" creationId="{6E292932-316D-6000-7BD6-52E1C382C2BC}"/>
          </ac:spMkLst>
        </pc:spChg>
        <pc:spChg chg="del">
          <ac:chgData name="Guest User" userId="S::urn:spo:anon#c437c167f923f422528aee73b5e70e5726914197d2dec7f210a84ae49e8498a7::" providerId="AD" clId="Web-{8BFE9592-C905-ED58-3DFA-3E3F28878378}" dt="2022-04-05T00:28:02.275" v="214"/>
          <ac:spMkLst>
            <pc:docMk/>
            <pc:sldMk cId="108984178" sldId="376"/>
            <ac:spMk id="116" creationId="{473E579E-3692-41BD-8D3D-A49F032BB7D1}"/>
          </ac:spMkLst>
        </pc:spChg>
        <pc:spChg chg="mod">
          <ac:chgData name="Guest User" userId="S::urn:spo:anon#c437c167f923f422528aee73b5e70e5726914197d2dec7f210a84ae49e8498a7::" providerId="AD" clId="Web-{8BFE9592-C905-ED58-3DFA-3E3F28878378}" dt="2022-04-05T00:40:42.578" v="361" actId="20577"/>
          <ac:spMkLst>
            <pc:docMk/>
            <pc:sldMk cId="108984178" sldId="376"/>
            <ac:spMk id="372" creationId="{00000000-0000-0000-0000-000000000000}"/>
          </ac:spMkLst>
        </pc:spChg>
        <pc:spChg chg="mod">
          <ac:chgData name="Guest User" userId="S::urn:spo:anon#c437c167f923f422528aee73b5e70e5726914197d2dec7f210a84ae49e8498a7::" providerId="AD" clId="Web-{8BFE9592-C905-ED58-3DFA-3E3F28878378}" dt="2022-04-05T00:30:01.309" v="239" actId="14100"/>
          <ac:spMkLst>
            <pc:docMk/>
            <pc:sldMk cId="108984178" sldId="376"/>
            <ac:spMk id="400" creationId="{00000000-0000-0000-0000-000000000000}"/>
          </ac:spMkLst>
        </pc:spChg>
        <pc:spChg chg="mod">
          <ac:chgData name="Guest User" userId="S::urn:spo:anon#c437c167f923f422528aee73b5e70e5726914197d2dec7f210a84ae49e8498a7::" providerId="AD" clId="Web-{8BFE9592-C905-ED58-3DFA-3E3F28878378}" dt="2022-04-05T00:31:03.905" v="249" actId="14100"/>
          <ac:spMkLst>
            <pc:docMk/>
            <pc:sldMk cId="108984178" sldId="376"/>
            <ac:spMk id="401" creationId="{00000000-0000-0000-0000-000000000000}"/>
          </ac:spMkLst>
        </pc:spChg>
        <pc:spChg chg="mod">
          <ac:chgData name="Guest User" userId="S::urn:spo:anon#c437c167f923f422528aee73b5e70e5726914197d2dec7f210a84ae49e8498a7::" providerId="AD" clId="Web-{8BFE9592-C905-ED58-3DFA-3E3F28878378}" dt="2022-04-05T00:35:42.397" v="304" actId="14100"/>
          <ac:spMkLst>
            <pc:docMk/>
            <pc:sldMk cId="108984178" sldId="376"/>
            <ac:spMk id="413" creationId="{00000000-0000-0000-0000-000000000000}"/>
          </ac:spMkLst>
        </pc:spChg>
        <pc:grpChg chg="mod">
          <ac:chgData name="Guest User" userId="S::urn:spo:anon#c437c167f923f422528aee73b5e70e5726914197d2dec7f210a84ae49e8498a7::" providerId="AD" clId="Web-{8BFE9592-C905-ED58-3DFA-3E3F28878378}" dt="2022-04-05T00:36:27.727" v="320" actId="1076"/>
          <ac:grpSpMkLst>
            <pc:docMk/>
            <pc:sldMk cId="108984178" sldId="376"/>
            <ac:grpSpMk id="3" creationId="{04B4B9EF-39BF-81F3-070D-703E1C6BC8C8}"/>
          </ac:grpSpMkLst>
        </pc:grpChg>
      </pc:sldChg>
    </pc:docChg>
  </pc:docChgLst>
  <pc:docChgLst>
    <pc:chgData name="Guest User" userId="S::urn:spo:anon#c437c167f923f422528aee73b5e70e5726914197d2dec7f210a84ae49e8498a7::" providerId="AD" clId="Web-{35D70541-A60A-4F46-F5B5-7B18F53CDE5E}"/>
    <pc:docChg chg="addSld modSld">
      <pc:chgData name="Guest User" userId="S::urn:spo:anon#c437c167f923f422528aee73b5e70e5726914197d2dec7f210a84ae49e8498a7::" providerId="AD" clId="Web-{35D70541-A60A-4F46-F5B5-7B18F53CDE5E}" dt="2022-04-01T15:46:09.758" v="46" actId="20577"/>
      <pc:docMkLst>
        <pc:docMk/>
      </pc:docMkLst>
      <pc:sldChg chg="modSp">
        <pc:chgData name="Guest User" userId="S::urn:spo:anon#c437c167f923f422528aee73b5e70e5726914197d2dec7f210a84ae49e8498a7::" providerId="AD" clId="Web-{35D70541-A60A-4F46-F5B5-7B18F53CDE5E}" dt="2022-04-01T15:45:43.164" v="29" actId="20577"/>
        <pc:sldMkLst>
          <pc:docMk/>
          <pc:sldMk cId="3762238417" sldId="367"/>
        </pc:sldMkLst>
        <pc:spChg chg="mod">
          <ac:chgData name="Guest User" userId="S::urn:spo:anon#c437c167f923f422528aee73b5e70e5726914197d2dec7f210a84ae49e8498a7::" providerId="AD" clId="Web-{35D70541-A60A-4F46-F5B5-7B18F53CDE5E}" dt="2022-04-01T15:45:43.164" v="29" actId="20577"/>
          <ac:spMkLst>
            <pc:docMk/>
            <pc:sldMk cId="3762238417" sldId="367"/>
            <ac:spMk id="9" creationId="{A559BC09-4387-488E-85BC-CBE75B1CE17C}"/>
          </ac:spMkLst>
        </pc:spChg>
      </pc:sldChg>
      <pc:sldChg chg="modSp add replId">
        <pc:chgData name="Guest User" userId="S::urn:spo:anon#c437c167f923f422528aee73b5e70e5726914197d2dec7f210a84ae49e8498a7::" providerId="AD" clId="Web-{35D70541-A60A-4F46-F5B5-7B18F53CDE5E}" dt="2022-04-01T15:46:09.758" v="46" actId="20577"/>
        <pc:sldMkLst>
          <pc:docMk/>
          <pc:sldMk cId="3117050842" sldId="377"/>
        </pc:sldMkLst>
        <pc:spChg chg="mod">
          <ac:chgData name="Guest User" userId="S::urn:spo:anon#c437c167f923f422528aee73b5e70e5726914197d2dec7f210a84ae49e8498a7::" providerId="AD" clId="Web-{35D70541-A60A-4F46-F5B5-7B18F53CDE5E}" dt="2022-04-01T15:46:01.617" v="44" actId="20577"/>
          <ac:spMkLst>
            <pc:docMk/>
            <pc:sldMk cId="3117050842" sldId="377"/>
            <ac:spMk id="2" creationId="{AB52A157-2CB8-6DCB-8D3B-00713BF25DCA}"/>
          </ac:spMkLst>
        </pc:spChg>
        <pc:spChg chg="mod">
          <ac:chgData name="Guest User" userId="S::urn:spo:anon#c437c167f923f422528aee73b5e70e5726914197d2dec7f210a84ae49e8498a7::" providerId="AD" clId="Web-{35D70541-A60A-4F46-F5B5-7B18F53CDE5E}" dt="2022-04-01T15:46:09.758" v="46" actId="20577"/>
          <ac:spMkLst>
            <pc:docMk/>
            <pc:sldMk cId="3117050842" sldId="377"/>
            <ac:spMk id="9" creationId="{A559BC09-4387-488E-85BC-CBE75B1CE17C}"/>
          </ac:spMkLst>
        </pc:spChg>
      </pc:sldChg>
    </pc:docChg>
  </pc:docChgLst>
  <pc:docChgLst>
    <pc:chgData name="Guest User" userId="S::urn:spo:anon#bc72e6c931b442e1b83d9d7baffb28dcb7bee849e2d9a5e2bb7cc25170a1c113::" providerId="AD" clId="Web-{CAD11799-19A8-DF87-A66C-AC9450A7D151}"/>
    <pc:docChg chg="modSld">
      <pc:chgData name="Guest User" userId="S::urn:spo:anon#bc72e6c931b442e1b83d9d7baffb28dcb7bee849e2d9a5e2bb7cc25170a1c113::" providerId="AD" clId="Web-{CAD11799-19A8-DF87-A66C-AC9450A7D151}" dt="2022-03-21T19:03:04.331" v="137" actId="20577"/>
      <pc:docMkLst>
        <pc:docMk/>
      </pc:docMkLst>
      <pc:sldChg chg="addSp delSp modSp">
        <pc:chgData name="Guest User" userId="S::urn:spo:anon#bc72e6c931b442e1b83d9d7baffb28dcb7bee849e2d9a5e2bb7cc25170a1c113::" providerId="AD" clId="Web-{CAD11799-19A8-DF87-A66C-AC9450A7D151}" dt="2022-03-21T17:02:37.741" v="1"/>
        <pc:sldMkLst>
          <pc:docMk/>
          <pc:sldMk cId="0" sldId="269"/>
        </pc:sldMkLst>
        <pc:picChg chg="add del mod">
          <ac:chgData name="Guest User" userId="S::urn:spo:anon#bc72e6c931b442e1b83d9d7baffb28dcb7bee849e2d9a5e2bb7cc25170a1c113::" providerId="AD" clId="Web-{CAD11799-19A8-DF87-A66C-AC9450A7D151}" dt="2022-03-21T17:02:37.741" v="1"/>
          <ac:picMkLst>
            <pc:docMk/>
            <pc:sldMk cId="0" sldId="269"/>
            <ac:picMk id="4" creationId="{1E939F9F-C945-4707-A6BC-E91CF0F129F1}"/>
          </ac:picMkLst>
        </pc:picChg>
      </pc:sldChg>
      <pc:sldChg chg="addSp delSp modSp">
        <pc:chgData name="Guest User" userId="S::urn:spo:anon#bc72e6c931b442e1b83d9d7baffb28dcb7bee849e2d9a5e2bb7cc25170a1c113::" providerId="AD" clId="Web-{CAD11799-19A8-DF87-A66C-AC9450A7D151}" dt="2022-03-21T19:03:04.331" v="137" actId="20577"/>
        <pc:sldMkLst>
          <pc:docMk/>
          <pc:sldMk cId="1209993513" sldId="338"/>
        </pc:sldMkLst>
        <pc:spChg chg="add ord">
          <ac:chgData name="Guest User" userId="S::urn:spo:anon#bc72e6c931b442e1b83d9d7baffb28dcb7bee849e2d9a5e2bb7cc25170a1c113::" providerId="AD" clId="Web-{CAD11799-19A8-DF87-A66C-AC9450A7D151}" dt="2022-03-21T17:10:44.566" v="18"/>
          <ac:spMkLst>
            <pc:docMk/>
            <pc:sldMk cId="1209993513" sldId="338"/>
            <ac:spMk id="10" creationId="{389A6555-68BD-49FE-A450-63908B6BC5AF}"/>
          </ac:spMkLst>
        </pc:spChg>
        <pc:spChg chg="ord">
          <ac:chgData name="Guest User" userId="S::urn:spo:anon#bc72e6c931b442e1b83d9d7baffb28dcb7bee849e2d9a5e2bb7cc25170a1c113::" providerId="AD" clId="Web-{CAD11799-19A8-DF87-A66C-AC9450A7D151}" dt="2022-03-21T17:13:10.838" v="38"/>
          <ac:spMkLst>
            <pc:docMk/>
            <pc:sldMk cId="1209993513" sldId="338"/>
            <ac:spMk id="13" creationId="{8AA9B512-3C2F-4929-A53B-DC613CCD9E7D}"/>
          </ac:spMkLst>
        </pc:spChg>
        <pc:spChg chg="mod">
          <ac:chgData name="Guest User" userId="S::urn:spo:anon#bc72e6c931b442e1b83d9d7baffb28dcb7bee849e2d9a5e2bb7cc25170a1c113::" providerId="AD" clId="Web-{CAD11799-19A8-DF87-A66C-AC9450A7D151}" dt="2022-03-21T19:03:04.331" v="137" actId="20577"/>
          <ac:spMkLst>
            <pc:docMk/>
            <pc:sldMk cId="1209993513" sldId="338"/>
            <ac:spMk id="16" creationId="{F29BBF2D-5F15-45EC-BE2A-14ABF1E18DB5}"/>
          </ac:spMkLst>
        </pc:spChg>
        <pc:picChg chg="add del mod">
          <ac:chgData name="Guest User" userId="S::urn:spo:anon#bc72e6c931b442e1b83d9d7baffb28dcb7bee849e2d9a5e2bb7cc25170a1c113::" providerId="AD" clId="Web-{CAD11799-19A8-DF87-A66C-AC9450A7D151}" dt="2022-03-21T17:02:49.210" v="5"/>
          <ac:picMkLst>
            <pc:docMk/>
            <pc:sldMk cId="1209993513" sldId="338"/>
            <ac:picMk id="5" creationId="{5B0FAFCB-1E4D-4174-8488-436BC8555C56}"/>
          </ac:picMkLst>
        </pc:picChg>
        <pc:picChg chg="add del mod">
          <ac:chgData name="Guest User" userId="S::urn:spo:anon#bc72e6c931b442e1b83d9d7baffb28dcb7bee849e2d9a5e2bb7cc25170a1c113::" providerId="AD" clId="Web-{CAD11799-19A8-DF87-A66C-AC9450A7D151}" dt="2022-03-21T17:05:03.526" v="10"/>
          <ac:picMkLst>
            <pc:docMk/>
            <pc:sldMk cId="1209993513" sldId="338"/>
            <ac:picMk id="6" creationId="{C5943BA8-DC9C-4A48-AC12-5EAF1581B7A8}"/>
          </ac:picMkLst>
        </pc:picChg>
        <pc:picChg chg="add mod">
          <ac:chgData name="Guest User" userId="S::urn:spo:anon#bc72e6c931b442e1b83d9d7baffb28dcb7bee849e2d9a5e2bb7cc25170a1c113::" providerId="AD" clId="Web-{CAD11799-19A8-DF87-A66C-AC9450A7D151}" dt="2022-03-21T17:14:01.355" v="55" actId="1076"/>
          <ac:picMkLst>
            <pc:docMk/>
            <pc:sldMk cId="1209993513" sldId="338"/>
            <ac:picMk id="7" creationId="{E167ADDA-3304-42B9-9524-97BE6D27840F}"/>
          </ac:picMkLst>
        </pc:picChg>
        <pc:picChg chg="add mod">
          <ac:chgData name="Guest User" userId="S::urn:spo:anon#bc72e6c931b442e1b83d9d7baffb28dcb7bee849e2d9a5e2bb7cc25170a1c113::" providerId="AD" clId="Web-{CAD11799-19A8-DF87-A66C-AC9450A7D151}" dt="2022-03-21T17:14:01.386" v="56" actId="1076"/>
          <ac:picMkLst>
            <pc:docMk/>
            <pc:sldMk cId="1209993513" sldId="338"/>
            <ac:picMk id="8" creationId="{A7F49EF5-7FD2-4E24-8DC7-5A70F582CFE8}"/>
          </ac:picMkLst>
        </pc:picChg>
        <pc:picChg chg="add mod">
          <ac:chgData name="Guest User" userId="S::urn:spo:anon#bc72e6c931b442e1b83d9d7baffb28dcb7bee849e2d9a5e2bb7cc25170a1c113::" providerId="AD" clId="Web-{CAD11799-19A8-DF87-A66C-AC9450A7D151}" dt="2022-03-21T17:13:43.057" v="45" actId="14100"/>
          <ac:picMkLst>
            <pc:docMk/>
            <pc:sldMk cId="1209993513" sldId="338"/>
            <ac:picMk id="9" creationId="{9237B7FB-437B-4F8D-8925-192D1CF2D458}"/>
          </ac:picMkLst>
        </pc:picChg>
        <pc:picChg chg="add mod">
          <ac:chgData name="Guest User" userId="S::urn:spo:anon#bc72e6c931b442e1b83d9d7baffb28dcb7bee849e2d9a5e2bb7cc25170a1c113::" providerId="AD" clId="Web-{CAD11799-19A8-DF87-A66C-AC9450A7D151}" dt="2022-03-21T17:13:48.667" v="48" actId="1076"/>
          <ac:picMkLst>
            <pc:docMk/>
            <pc:sldMk cId="1209993513" sldId="338"/>
            <ac:picMk id="11" creationId="{7884BA36-C9C9-41F8-AF4A-AC1388B7BC31}"/>
          </ac:picMkLst>
        </pc:picChg>
      </pc:sldChg>
    </pc:docChg>
  </pc:docChgLst>
  <pc:docChgLst>
    <pc:chgData name="Guest User" userId="S::urn:spo:anon#c437c167f923f422528aee73b5e70e5726914197d2dec7f210a84ae49e8498a7::" providerId="AD" clId="Web-{B44790BB-80A1-81C6-8736-235CC973D5CE}"/>
    <pc:docChg chg="addSld delSld modSld sldOrd">
      <pc:chgData name="Guest User" userId="S::urn:spo:anon#c437c167f923f422528aee73b5e70e5726914197d2dec7f210a84ae49e8498a7::" providerId="AD" clId="Web-{B44790BB-80A1-81C6-8736-235CC973D5CE}" dt="2022-04-01T15:43:03.137" v="1139" actId="20577"/>
      <pc:docMkLst>
        <pc:docMk/>
      </pc:docMkLst>
      <pc:sldChg chg="addSp delSp modSp">
        <pc:chgData name="Guest User" userId="S::urn:spo:anon#c437c167f923f422528aee73b5e70e5726914197d2dec7f210a84ae49e8498a7::" providerId="AD" clId="Web-{B44790BB-80A1-81C6-8736-235CC973D5CE}" dt="2022-04-01T14:14:24.978" v="0"/>
        <pc:sldMkLst>
          <pc:docMk/>
          <pc:sldMk cId="0" sldId="256"/>
        </pc:sldMkLst>
        <pc:spChg chg="add mod">
          <ac:chgData name="Guest User" userId="S::urn:spo:anon#c437c167f923f422528aee73b5e70e5726914197d2dec7f210a84ae49e8498a7::" providerId="AD" clId="Web-{B44790BB-80A1-81C6-8736-235CC973D5CE}" dt="2022-04-01T14:14:24.978" v="0"/>
          <ac:spMkLst>
            <pc:docMk/>
            <pc:sldMk cId="0" sldId="256"/>
            <ac:spMk id="3" creationId="{B0238991-4556-F277-0C05-9F462522ACC4}"/>
          </ac:spMkLst>
        </pc:spChg>
        <pc:spChg chg="del">
          <ac:chgData name="Guest User" userId="S::urn:spo:anon#c437c167f923f422528aee73b5e70e5726914197d2dec7f210a84ae49e8498a7::" providerId="AD" clId="Web-{B44790BB-80A1-81C6-8736-235CC973D5CE}" dt="2022-04-01T14:14:24.978" v="0"/>
          <ac:spMkLst>
            <pc:docMk/>
            <pc:sldMk cId="0" sldId="256"/>
            <ac:spMk id="186" creationId="{00000000-0000-0000-0000-000000000000}"/>
          </ac:spMkLst>
        </pc:spChg>
      </pc:sldChg>
      <pc:sldChg chg="modSp">
        <pc:chgData name="Guest User" userId="S::urn:spo:anon#c437c167f923f422528aee73b5e70e5726914197d2dec7f210a84ae49e8498a7::" providerId="AD" clId="Web-{B44790BB-80A1-81C6-8736-235CC973D5CE}" dt="2022-04-01T14:14:36.697" v="1" actId="20577"/>
        <pc:sldMkLst>
          <pc:docMk/>
          <pc:sldMk cId="0" sldId="258"/>
        </pc:sldMkLst>
        <pc:spChg chg="mod">
          <ac:chgData name="Guest User" userId="S::urn:spo:anon#c437c167f923f422528aee73b5e70e5726914197d2dec7f210a84ae49e8498a7::" providerId="AD" clId="Web-{B44790BB-80A1-81C6-8736-235CC973D5CE}" dt="2022-04-01T14:14:36.697" v="1" actId="20577"/>
          <ac:spMkLst>
            <pc:docMk/>
            <pc:sldMk cId="0" sldId="258"/>
            <ac:spMk id="245" creationId="{00000000-0000-0000-0000-000000000000}"/>
          </ac:spMkLst>
        </pc:spChg>
      </pc:sldChg>
      <pc:sldChg chg="addSp modSp">
        <pc:chgData name="Guest User" userId="S::urn:spo:anon#c437c167f923f422528aee73b5e70e5726914197d2dec7f210a84ae49e8498a7::" providerId="AD" clId="Web-{B44790BB-80A1-81C6-8736-235CC973D5CE}" dt="2022-04-01T14:17:45.984" v="64" actId="20577"/>
        <pc:sldMkLst>
          <pc:docMk/>
          <pc:sldMk cId="0" sldId="259"/>
        </pc:sldMkLst>
        <pc:spChg chg="add mod">
          <ac:chgData name="Guest User" userId="S::urn:spo:anon#c437c167f923f422528aee73b5e70e5726914197d2dec7f210a84ae49e8498a7::" providerId="AD" clId="Web-{B44790BB-80A1-81C6-8736-235CC973D5CE}" dt="2022-04-01T14:17:45.984" v="64" actId="20577"/>
          <ac:spMkLst>
            <pc:docMk/>
            <pc:sldMk cId="0" sldId="259"/>
            <ac:spMk id="2" creationId="{332FAA88-0C1A-23EC-244B-BB586AB16ADA}"/>
          </ac:spMkLst>
        </pc:spChg>
        <pc:spChg chg="add mod">
          <ac:chgData name="Guest User" userId="S::urn:spo:anon#c437c167f923f422528aee73b5e70e5726914197d2dec7f210a84ae49e8498a7::" providerId="AD" clId="Web-{B44790BB-80A1-81C6-8736-235CC973D5CE}" dt="2022-04-01T14:17:30.249" v="61" actId="1076"/>
          <ac:spMkLst>
            <pc:docMk/>
            <pc:sldMk cId="0" sldId="259"/>
            <ac:spMk id="60" creationId="{95952E1E-7F78-EB4E-C8DB-6C613AD4FCEC}"/>
          </ac:spMkLst>
        </pc:spChg>
        <pc:spChg chg="add mod">
          <ac:chgData name="Guest User" userId="S::urn:spo:anon#c437c167f923f422528aee73b5e70e5726914197d2dec7f210a84ae49e8498a7::" providerId="AD" clId="Web-{B44790BB-80A1-81C6-8736-235CC973D5CE}" dt="2022-04-01T14:17:13.467" v="52" actId="20577"/>
          <ac:spMkLst>
            <pc:docMk/>
            <pc:sldMk cId="0" sldId="259"/>
            <ac:spMk id="61" creationId="{C51DA092-9C64-E1F6-D5F1-DF5C36135B45}"/>
          </ac:spMkLst>
        </pc:spChg>
        <pc:spChg chg="mod">
          <ac:chgData name="Guest User" userId="S::urn:spo:anon#c437c167f923f422528aee73b5e70e5726914197d2dec7f210a84ae49e8498a7::" providerId="AD" clId="Web-{B44790BB-80A1-81C6-8736-235CC973D5CE}" dt="2022-04-01T14:14:58.714" v="3"/>
          <ac:spMkLst>
            <pc:docMk/>
            <pc:sldMk cId="0" sldId="259"/>
            <ac:spMk id="295" creationId="{00000000-0000-0000-0000-000000000000}"/>
          </ac:spMkLst>
        </pc:spChg>
        <pc:spChg chg="mod">
          <ac:chgData name="Guest User" userId="S::urn:spo:anon#c437c167f923f422528aee73b5e70e5726914197d2dec7f210a84ae49e8498a7::" providerId="AD" clId="Web-{B44790BB-80A1-81C6-8736-235CC973D5CE}" dt="2022-04-01T14:17:34.187" v="62" actId="1076"/>
          <ac:spMkLst>
            <pc:docMk/>
            <pc:sldMk cId="0" sldId="259"/>
            <ac:spMk id="312" creationId="{00000000-0000-0000-0000-000000000000}"/>
          </ac:spMkLst>
        </pc:spChg>
      </pc:sldChg>
      <pc:sldChg chg="del">
        <pc:chgData name="Guest User" userId="S::urn:spo:anon#c437c167f923f422528aee73b5e70e5726914197d2dec7f210a84ae49e8498a7::" providerId="AD" clId="Web-{B44790BB-80A1-81C6-8736-235CC973D5CE}" dt="2022-04-01T15:39:02.648" v="884"/>
        <pc:sldMkLst>
          <pc:docMk/>
          <pc:sldMk cId="0" sldId="262"/>
        </pc:sldMkLst>
      </pc:sldChg>
      <pc:sldChg chg="addSp delSp modSp">
        <pc:chgData name="Guest User" userId="S::urn:spo:anon#c437c167f923f422528aee73b5e70e5726914197d2dec7f210a84ae49e8498a7::" providerId="AD" clId="Web-{B44790BB-80A1-81C6-8736-235CC973D5CE}" dt="2022-04-01T14:19:37.784" v="104" actId="1076"/>
        <pc:sldMkLst>
          <pc:docMk/>
          <pc:sldMk cId="0" sldId="264"/>
        </pc:sldMkLst>
        <pc:spChg chg="del">
          <ac:chgData name="Guest User" userId="S::urn:spo:anon#c437c167f923f422528aee73b5e70e5726914197d2dec7f210a84ae49e8498a7::" providerId="AD" clId="Web-{B44790BB-80A1-81C6-8736-235CC973D5CE}" dt="2022-04-01T14:18:54.970" v="83"/>
          <ac:spMkLst>
            <pc:docMk/>
            <pc:sldMk cId="0" sldId="264"/>
            <ac:spMk id="2" creationId="{602D9FA4-F15C-4D1D-AEB7-B89F3D495002}"/>
          </ac:spMkLst>
        </pc:spChg>
        <pc:spChg chg="add mod">
          <ac:chgData name="Guest User" userId="S::urn:spo:anon#c437c167f923f422528aee73b5e70e5726914197d2dec7f210a84ae49e8498a7::" providerId="AD" clId="Web-{B44790BB-80A1-81C6-8736-235CC973D5CE}" dt="2022-04-01T14:19:07.111" v="85" actId="1076"/>
          <ac:spMkLst>
            <pc:docMk/>
            <pc:sldMk cId="0" sldId="264"/>
            <ac:spMk id="4" creationId="{2A7D3A66-4741-5C35-EDF0-07C9E0489A88}"/>
          </ac:spMkLst>
        </pc:spChg>
        <pc:spChg chg="mod">
          <ac:chgData name="Guest User" userId="S::urn:spo:anon#c437c167f923f422528aee73b5e70e5726914197d2dec7f210a84ae49e8498a7::" providerId="AD" clId="Web-{B44790BB-80A1-81C6-8736-235CC973D5CE}" dt="2022-04-01T14:19:37.784" v="104" actId="1076"/>
          <ac:spMkLst>
            <pc:docMk/>
            <pc:sldMk cId="0" sldId="264"/>
            <ac:spMk id="27" creationId="{5326A9EE-D7DA-42EE-827F-1C7E490483EE}"/>
          </ac:spMkLst>
        </pc:spChg>
        <pc:spChg chg="mod">
          <ac:chgData name="Guest User" userId="S::urn:spo:anon#c437c167f923f422528aee73b5e70e5726914197d2dec7f210a84ae49e8498a7::" providerId="AD" clId="Web-{B44790BB-80A1-81C6-8736-235CC973D5CE}" dt="2022-04-01T14:19:32.753" v="103" actId="20577"/>
          <ac:spMkLst>
            <pc:docMk/>
            <pc:sldMk cId="0" sldId="264"/>
            <ac:spMk id="472" creationId="{00000000-0000-0000-0000-000000000000}"/>
          </ac:spMkLst>
        </pc:spChg>
      </pc:sldChg>
      <pc:sldChg chg="modSp">
        <pc:chgData name="Guest User" userId="S::urn:spo:anon#c437c167f923f422528aee73b5e70e5726914197d2dec7f210a84ae49e8498a7::" providerId="AD" clId="Web-{B44790BB-80A1-81C6-8736-235CC973D5CE}" dt="2022-04-01T14:24:03.620" v="453" actId="20577"/>
        <pc:sldMkLst>
          <pc:docMk/>
          <pc:sldMk cId="0" sldId="267"/>
        </pc:sldMkLst>
        <pc:spChg chg="mod">
          <ac:chgData name="Guest User" userId="S::urn:spo:anon#c437c167f923f422528aee73b5e70e5726914197d2dec7f210a84ae49e8498a7::" providerId="AD" clId="Web-{B44790BB-80A1-81C6-8736-235CC973D5CE}" dt="2022-04-01T14:24:03.620" v="453" actId="20577"/>
          <ac:spMkLst>
            <pc:docMk/>
            <pc:sldMk cId="0" sldId="267"/>
            <ac:spMk id="15" creationId="{1E4F1338-17C9-4FF2-9D25-BE5608D8C1F6}"/>
          </ac:spMkLst>
        </pc:spChg>
      </pc:sldChg>
      <pc:sldChg chg="addSp modSp">
        <pc:chgData name="Guest User" userId="S::urn:spo:anon#c437c167f923f422528aee73b5e70e5726914197d2dec7f210a84ae49e8498a7::" providerId="AD" clId="Web-{B44790BB-80A1-81C6-8736-235CC973D5CE}" dt="2022-04-01T15:36:50.208" v="767" actId="20577"/>
        <pc:sldMkLst>
          <pc:docMk/>
          <pc:sldMk cId="0" sldId="275"/>
        </pc:sldMkLst>
        <pc:spChg chg="add mod">
          <ac:chgData name="Guest User" userId="S::urn:spo:anon#c437c167f923f422528aee73b5e70e5726914197d2dec7f210a84ae49e8498a7::" providerId="AD" clId="Web-{B44790BB-80A1-81C6-8736-235CC973D5CE}" dt="2022-04-01T15:36:50.208" v="767" actId="20577"/>
          <ac:spMkLst>
            <pc:docMk/>
            <pc:sldMk cId="0" sldId="275"/>
            <ac:spMk id="9" creationId="{0FBC84A6-EDCC-927D-4D8D-DFA9A4DCE659}"/>
          </ac:spMkLst>
        </pc:spChg>
      </pc:sldChg>
      <pc:sldChg chg="addSp delSp modSp">
        <pc:chgData name="Guest User" userId="S::urn:spo:anon#c437c167f923f422528aee73b5e70e5726914197d2dec7f210a84ae49e8498a7::" providerId="AD" clId="Web-{B44790BB-80A1-81C6-8736-235CC973D5CE}" dt="2022-04-01T15:40:24.102" v="984"/>
        <pc:sldMkLst>
          <pc:docMk/>
          <pc:sldMk cId="0" sldId="283"/>
        </pc:sldMkLst>
        <pc:spChg chg="del">
          <ac:chgData name="Guest User" userId="S::urn:spo:anon#c437c167f923f422528aee73b5e70e5726914197d2dec7f210a84ae49e8498a7::" providerId="AD" clId="Web-{B44790BB-80A1-81C6-8736-235CC973D5CE}" dt="2022-04-01T15:39:21.851" v="887"/>
          <ac:spMkLst>
            <pc:docMk/>
            <pc:sldMk cId="0" sldId="283"/>
            <ac:spMk id="15" creationId="{4E03B81E-06BB-45C9-A04F-3F71A33A4116}"/>
          </ac:spMkLst>
        </pc:spChg>
        <pc:spChg chg="mod">
          <ac:chgData name="Guest User" userId="S::urn:spo:anon#c437c167f923f422528aee73b5e70e5726914197d2dec7f210a84ae49e8498a7::" providerId="AD" clId="Web-{B44790BB-80A1-81C6-8736-235CC973D5CE}" dt="2022-04-01T15:39:07.617" v="886" actId="20577"/>
          <ac:spMkLst>
            <pc:docMk/>
            <pc:sldMk cId="0" sldId="283"/>
            <ac:spMk id="20" creationId="{4B2456FF-B645-463D-855D-7AC4CB451808}"/>
          </ac:spMkLst>
        </pc:spChg>
        <pc:spChg chg="mod">
          <ac:chgData name="Guest User" userId="S::urn:spo:anon#c437c167f923f422528aee73b5e70e5726914197d2dec7f210a84ae49e8498a7::" providerId="AD" clId="Web-{B44790BB-80A1-81C6-8736-235CC973D5CE}" dt="2022-04-01T15:40:03.540" v="956"/>
          <ac:spMkLst>
            <pc:docMk/>
            <pc:sldMk cId="0" sldId="283"/>
            <ac:spMk id="21" creationId="{7C092FA4-92F1-452C-973C-C91F4DCFAD78}"/>
          </ac:spMkLst>
        </pc:spChg>
        <pc:spChg chg="add mod">
          <ac:chgData name="Guest User" userId="S::urn:spo:anon#c437c167f923f422528aee73b5e70e5726914197d2dec7f210a84ae49e8498a7::" providerId="AD" clId="Web-{B44790BB-80A1-81C6-8736-235CC973D5CE}" dt="2022-04-01T15:39:24.117" v="889" actId="1076"/>
          <ac:spMkLst>
            <pc:docMk/>
            <pc:sldMk cId="0" sldId="283"/>
            <ac:spMk id="22" creationId="{1D044FAD-B4AA-1AFD-293A-8E712C11FEC4}"/>
          </ac:spMkLst>
        </pc:spChg>
        <pc:graphicFrameChg chg="mod modGraphic">
          <ac:chgData name="Guest User" userId="S::urn:spo:anon#c437c167f923f422528aee73b5e70e5726914197d2dec7f210a84ae49e8498a7::" providerId="AD" clId="Web-{B44790BB-80A1-81C6-8736-235CC973D5CE}" dt="2022-04-01T15:40:24.102" v="984"/>
          <ac:graphicFrameMkLst>
            <pc:docMk/>
            <pc:sldMk cId="0" sldId="283"/>
            <ac:graphicFrameMk id="930" creationId="{00000000-0000-0000-0000-000000000000}"/>
          </ac:graphicFrameMkLst>
        </pc:graphicFrameChg>
      </pc:sldChg>
      <pc:sldChg chg="modSp">
        <pc:chgData name="Guest User" userId="S::urn:spo:anon#c437c167f923f422528aee73b5e70e5726914197d2dec7f210a84ae49e8498a7::" providerId="AD" clId="Web-{B44790BB-80A1-81C6-8736-235CC973D5CE}" dt="2022-04-01T15:36:57.786" v="778" actId="20577"/>
        <pc:sldMkLst>
          <pc:docMk/>
          <pc:sldMk cId="3210015788" sldId="303"/>
        </pc:sldMkLst>
        <pc:spChg chg="mod">
          <ac:chgData name="Guest User" userId="S::urn:spo:anon#c437c167f923f422528aee73b5e70e5726914197d2dec7f210a84ae49e8498a7::" providerId="AD" clId="Web-{B44790BB-80A1-81C6-8736-235CC973D5CE}" dt="2022-04-01T15:36:57.786" v="778" actId="20577"/>
          <ac:spMkLst>
            <pc:docMk/>
            <pc:sldMk cId="3210015788" sldId="303"/>
            <ac:spMk id="25" creationId="{33379683-EB1F-4B6F-948D-4D47193E44D8}"/>
          </ac:spMkLst>
        </pc:spChg>
      </pc:sldChg>
      <pc:sldChg chg="addSp delSp modSp">
        <pc:chgData name="Guest User" userId="S::urn:spo:anon#c437c167f923f422528aee73b5e70e5726914197d2dec7f210a84ae49e8498a7::" providerId="AD" clId="Web-{B44790BB-80A1-81C6-8736-235CC973D5CE}" dt="2022-04-01T14:21:49.694" v="246" actId="20577"/>
        <pc:sldMkLst>
          <pc:docMk/>
          <pc:sldMk cId="1756389301" sldId="323"/>
        </pc:sldMkLst>
        <pc:spChg chg="add mod">
          <ac:chgData name="Guest User" userId="S::urn:spo:anon#c437c167f923f422528aee73b5e70e5726914197d2dec7f210a84ae49e8498a7::" providerId="AD" clId="Web-{B44790BB-80A1-81C6-8736-235CC973D5CE}" dt="2022-04-01T14:21:49.694" v="246" actId="20577"/>
          <ac:spMkLst>
            <pc:docMk/>
            <pc:sldMk cId="1756389301" sldId="323"/>
            <ac:spMk id="2" creationId="{F0989B0E-DB48-159B-A485-E409F4BFF5AD}"/>
          </ac:spMkLst>
        </pc:spChg>
        <pc:spChg chg="del">
          <ac:chgData name="Guest User" userId="S::urn:spo:anon#c437c167f923f422528aee73b5e70e5726914197d2dec7f210a84ae49e8498a7::" providerId="AD" clId="Web-{B44790BB-80A1-81C6-8736-235CC973D5CE}" dt="2022-04-01T14:21:16.099" v="171"/>
          <ac:spMkLst>
            <pc:docMk/>
            <pc:sldMk cId="1756389301" sldId="323"/>
            <ac:spMk id="17" creationId="{740FA3E6-F331-4E37-B121-EE2C3B7FFACC}"/>
          </ac:spMkLst>
        </pc:spChg>
      </pc:sldChg>
      <pc:sldChg chg="delSp modSp">
        <pc:chgData name="Guest User" userId="S::urn:spo:anon#c437c167f923f422528aee73b5e70e5726914197d2dec7f210a84ae49e8498a7::" providerId="AD" clId="Web-{B44790BB-80A1-81C6-8736-235CC973D5CE}" dt="2022-04-01T14:20:36.864" v="127" actId="20577"/>
        <pc:sldMkLst>
          <pc:docMk/>
          <pc:sldMk cId="3720673345" sldId="336"/>
        </pc:sldMkLst>
        <pc:spChg chg="mod">
          <ac:chgData name="Guest User" userId="S::urn:spo:anon#c437c167f923f422528aee73b5e70e5726914197d2dec7f210a84ae49e8498a7::" providerId="AD" clId="Web-{B44790BB-80A1-81C6-8736-235CC973D5CE}" dt="2022-04-01T14:20:36.864" v="127" actId="20577"/>
          <ac:spMkLst>
            <pc:docMk/>
            <pc:sldMk cId="3720673345" sldId="336"/>
            <ac:spMk id="2" creationId="{8590B0AD-CF71-4028-AE61-68B4F1150A4F}"/>
          </ac:spMkLst>
        </pc:spChg>
        <pc:spChg chg="mod">
          <ac:chgData name="Guest User" userId="S::urn:spo:anon#c437c167f923f422528aee73b5e70e5726914197d2dec7f210a84ae49e8498a7::" providerId="AD" clId="Web-{B44790BB-80A1-81C6-8736-235CC973D5CE}" dt="2022-04-01T14:19:54.550" v="105" actId="14100"/>
          <ac:spMkLst>
            <pc:docMk/>
            <pc:sldMk cId="3720673345" sldId="336"/>
            <ac:spMk id="12" creationId="{2A18C4E8-C461-494D-81E4-7EB6C08B7B32}"/>
          </ac:spMkLst>
        </pc:spChg>
        <pc:spChg chg="del mod">
          <ac:chgData name="Guest User" userId="S::urn:spo:anon#c437c167f923f422528aee73b5e70e5726914197d2dec7f210a84ae49e8498a7::" providerId="AD" clId="Web-{B44790BB-80A1-81C6-8736-235CC973D5CE}" dt="2022-04-01T14:20:04.691" v="107"/>
          <ac:spMkLst>
            <pc:docMk/>
            <pc:sldMk cId="3720673345" sldId="336"/>
            <ac:spMk id="16" creationId="{8A8E2FB6-A608-4B9E-A208-3AABA014F4B7}"/>
          </ac:spMkLst>
        </pc:spChg>
      </pc:sldChg>
      <pc:sldChg chg="modSp">
        <pc:chgData name="Guest User" userId="S::urn:spo:anon#c437c167f923f422528aee73b5e70e5726914197d2dec7f210a84ae49e8498a7::" providerId="AD" clId="Web-{B44790BB-80A1-81C6-8736-235CC973D5CE}" dt="2022-04-01T14:21:09.318" v="170" actId="20577"/>
        <pc:sldMkLst>
          <pc:docMk/>
          <pc:sldMk cId="1209993513" sldId="338"/>
        </pc:sldMkLst>
        <pc:spChg chg="mod">
          <ac:chgData name="Guest User" userId="S::urn:spo:anon#c437c167f923f422528aee73b5e70e5726914197d2dec7f210a84ae49e8498a7::" providerId="AD" clId="Web-{B44790BB-80A1-81C6-8736-235CC973D5CE}" dt="2022-04-01T14:21:09.318" v="170" actId="20577"/>
          <ac:spMkLst>
            <pc:docMk/>
            <pc:sldMk cId="1209993513" sldId="338"/>
            <ac:spMk id="13" creationId="{7CB40364-C6DD-4E16-B46E-08A1E44306A9}"/>
          </ac:spMkLst>
        </pc:spChg>
      </pc:sldChg>
      <pc:sldChg chg="delSp modSp">
        <pc:chgData name="Guest User" userId="S::urn:spo:anon#c437c167f923f422528aee73b5e70e5726914197d2dec7f210a84ae49e8498a7::" providerId="AD" clId="Web-{B44790BB-80A1-81C6-8736-235CC973D5CE}" dt="2022-04-01T14:18:47.408" v="82" actId="1076"/>
        <pc:sldMkLst>
          <pc:docMk/>
          <pc:sldMk cId="2486721525" sldId="341"/>
        </pc:sldMkLst>
        <pc:spChg chg="mod">
          <ac:chgData name="Guest User" userId="S::urn:spo:anon#c437c167f923f422528aee73b5e70e5726914197d2dec7f210a84ae49e8498a7::" providerId="AD" clId="Web-{B44790BB-80A1-81C6-8736-235CC973D5CE}" dt="2022-04-01T14:18:02.922" v="70" actId="1076"/>
          <ac:spMkLst>
            <pc:docMk/>
            <pc:sldMk cId="2486721525" sldId="341"/>
            <ac:spMk id="100" creationId="{523D7184-991A-457B-AD7E-9585D81AD188}"/>
          </ac:spMkLst>
        </pc:spChg>
        <pc:spChg chg="del">
          <ac:chgData name="Guest User" userId="S::urn:spo:anon#c437c167f923f422528aee73b5e70e5726914197d2dec7f210a84ae49e8498a7::" providerId="AD" clId="Web-{B44790BB-80A1-81C6-8736-235CC973D5CE}" dt="2022-04-01T14:18:20.329" v="73"/>
          <ac:spMkLst>
            <pc:docMk/>
            <pc:sldMk cId="2486721525" sldId="341"/>
            <ac:spMk id="115" creationId="{E1B09134-0372-4CAF-82C4-955305B67393}"/>
          </ac:spMkLst>
        </pc:spChg>
        <pc:spChg chg="mod">
          <ac:chgData name="Guest User" userId="S::urn:spo:anon#c437c167f923f422528aee73b5e70e5726914197d2dec7f210a84ae49e8498a7::" providerId="AD" clId="Web-{B44790BB-80A1-81C6-8736-235CC973D5CE}" dt="2022-04-01T14:18:11.485" v="71" actId="14100"/>
          <ac:spMkLst>
            <pc:docMk/>
            <pc:sldMk cId="2486721525" sldId="341"/>
            <ac:spMk id="116" creationId="{473E579E-3692-41BD-8D3D-A49F032BB7D1}"/>
          </ac:spMkLst>
        </pc:spChg>
        <pc:spChg chg="mod">
          <ac:chgData name="Guest User" userId="S::urn:spo:anon#c437c167f923f422528aee73b5e70e5726914197d2dec7f210a84ae49e8498a7::" providerId="AD" clId="Web-{B44790BB-80A1-81C6-8736-235CC973D5CE}" dt="2022-04-01T14:18:00.109" v="69" actId="20577"/>
          <ac:spMkLst>
            <pc:docMk/>
            <pc:sldMk cId="2486721525" sldId="341"/>
            <ac:spMk id="344" creationId="{00000000-0000-0000-0000-000000000000}"/>
          </ac:spMkLst>
        </pc:spChg>
        <pc:spChg chg="mod">
          <ac:chgData name="Guest User" userId="S::urn:spo:anon#c437c167f923f422528aee73b5e70e5726914197d2dec7f210a84ae49e8498a7::" providerId="AD" clId="Web-{B44790BB-80A1-81C6-8736-235CC973D5CE}" dt="2022-04-01T14:18:23.641" v="74" actId="14100"/>
          <ac:spMkLst>
            <pc:docMk/>
            <pc:sldMk cId="2486721525" sldId="341"/>
            <ac:spMk id="372" creationId="{00000000-0000-0000-0000-000000000000}"/>
          </ac:spMkLst>
        </pc:spChg>
        <pc:spChg chg="del">
          <ac:chgData name="Guest User" userId="S::urn:spo:anon#c437c167f923f422528aee73b5e70e5726914197d2dec7f210a84ae49e8498a7::" providerId="AD" clId="Web-{B44790BB-80A1-81C6-8736-235CC973D5CE}" dt="2022-04-01T14:18:16.891" v="72"/>
          <ac:spMkLst>
            <pc:docMk/>
            <pc:sldMk cId="2486721525" sldId="341"/>
            <ac:spMk id="414" creationId="{00000000-0000-0000-0000-000000000000}"/>
          </ac:spMkLst>
        </pc:spChg>
        <pc:spChg chg="mod">
          <ac:chgData name="Guest User" userId="S::urn:spo:anon#c437c167f923f422528aee73b5e70e5726914197d2dec7f210a84ae49e8498a7::" providerId="AD" clId="Web-{B44790BB-80A1-81C6-8736-235CC973D5CE}" dt="2022-04-01T14:18:32.735" v="75" actId="1076"/>
          <ac:spMkLst>
            <pc:docMk/>
            <pc:sldMk cId="2486721525" sldId="341"/>
            <ac:spMk id="416" creationId="{00000000-0000-0000-0000-000000000000}"/>
          </ac:spMkLst>
        </pc:spChg>
        <pc:spChg chg="mod">
          <ac:chgData name="Guest User" userId="S::urn:spo:anon#c437c167f923f422528aee73b5e70e5726914197d2dec7f210a84ae49e8498a7::" providerId="AD" clId="Web-{B44790BB-80A1-81C6-8736-235CC973D5CE}" dt="2022-04-01T14:18:32.767" v="76" actId="1076"/>
          <ac:spMkLst>
            <pc:docMk/>
            <pc:sldMk cId="2486721525" sldId="341"/>
            <ac:spMk id="417" creationId="{00000000-0000-0000-0000-000000000000}"/>
          </ac:spMkLst>
        </pc:spChg>
        <pc:spChg chg="mod">
          <ac:chgData name="Guest User" userId="S::urn:spo:anon#c437c167f923f422528aee73b5e70e5726914197d2dec7f210a84ae49e8498a7::" providerId="AD" clId="Web-{B44790BB-80A1-81C6-8736-235CC973D5CE}" dt="2022-04-01T14:18:47.236" v="77" actId="1076"/>
          <ac:spMkLst>
            <pc:docMk/>
            <pc:sldMk cId="2486721525" sldId="341"/>
            <ac:spMk id="430" creationId="{00000000-0000-0000-0000-000000000000}"/>
          </ac:spMkLst>
        </pc:spChg>
        <pc:spChg chg="mod">
          <ac:chgData name="Guest User" userId="S::urn:spo:anon#c437c167f923f422528aee73b5e70e5726914197d2dec7f210a84ae49e8498a7::" providerId="AD" clId="Web-{B44790BB-80A1-81C6-8736-235CC973D5CE}" dt="2022-04-01T14:18:47.283" v="78" actId="1076"/>
          <ac:spMkLst>
            <pc:docMk/>
            <pc:sldMk cId="2486721525" sldId="341"/>
            <ac:spMk id="431" creationId="{00000000-0000-0000-0000-000000000000}"/>
          </ac:spMkLst>
        </pc:spChg>
        <pc:spChg chg="mod">
          <ac:chgData name="Guest User" userId="S::urn:spo:anon#c437c167f923f422528aee73b5e70e5726914197d2dec7f210a84ae49e8498a7::" providerId="AD" clId="Web-{B44790BB-80A1-81C6-8736-235CC973D5CE}" dt="2022-04-01T14:18:47.314" v="79" actId="1076"/>
          <ac:spMkLst>
            <pc:docMk/>
            <pc:sldMk cId="2486721525" sldId="341"/>
            <ac:spMk id="436" creationId="{00000000-0000-0000-0000-000000000000}"/>
          </ac:spMkLst>
        </pc:spChg>
        <pc:spChg chg="mod">
          <ac:chgData name="Guest User" userId="S::urn:spo:anon#c437c167f923f422528aee73b5e70e5726914197d2dec7f210a84ae49e8498a7::" providerId="AD" clId="Web-{B44790BB-80A1-81C6-8736-235CC973D5CE}" dt="2022-04-01T14:18:47.345" v="80" actId="1076"/>
          <ac:spMkLst>
            <pc:docMk/>
            <pc:sldMk cId="2486721525" sldId="341"/>
            <ac:spMk id="441" creationId="{00000000-0000-0000-0000-000000000000}"/>
          </ac:spMkLst>
        </pc:spChg>
        <pc:spChg chg="mod">
          <ac:chgData name="Guest User" userId="S::urn:spo:anon#c437c167f923f422528aee73b5e70e5726914197d2dec7f210a84ae49e8498a7::" providerId="AD" clId="Web-{B44790BB-80A1-81C6-8736-235CC973D5CE}" dt="2022-04-01T14:18:47.376" v="81" actId="1076"/>
          <ac:spMkLst>
            <pc:docMk/>
            <pc:sldMk cId="2486721525" sldId="341"/>
            <ac:spMk id="446" creationId="{00000000-0000-0000-0000-000000000000}"/>
          </ac:spMkLst>
        </pc:spChg>
        <pc:spChg chg="mod">
          <ac:chgData name="Guest User" userId="S::urn:spo:anon#c437c167f923f422528aee73b5e70e5726914197d2dec7f210a84ae49e8498a7::" providerId="AD" clId="Web-{B44790BB-80A1-81C6-8736-235CC973D5CE}" dt="2022-04-01T14:18:47.408" v="82" actId="1076"/>
          <ac:spMkLst>
            <pc:docMk/>
            <pc:sldMk cId="2486721525" sldId="341"/>
            <ac:spMk id="447" creationId="{00000000-0000-0000-0000-000000000000}"/>
          </ac:spMkLst>
        </pc:spChg>
      </pc:sldChg>
      <pc:sldChg chg="modSp ord">
        <pc:chgData name="Guest User" userId="S::urn:spo:anon#c437c167f923f422528aee73b5e70e5726914197d2dec7f210a84ae49e8498a7::" providerId="AD" clId="Web-{B44790BB-80A1-81C6-8736-235CC973D5CE}" dt="2022-04-01T15:41:13.588" v="1070" actId="20577"/>
        <pc:sldMkLst>
          <pc:docMk/>
          <pc:sldMk cId="4114424017" sldId="342"/>
        </pc:sldMkLst>
        <pc:spChg chg="mod">
          <ac:chgData name="Guest User" userId="S::urn:spo:anon#c437c167f923f422528aee73b5e70e5726914197d2dec7f210a84ae49e8498a7::" providerId="AD" clId="Web-{B44790BB-80A1-81C6-8736-235CC973D5CE}" dt="2022-04-01T15:41:13.588" v="1070" actId="20577"/>
          <ac:spMkLst>
            <pc:docMk/>
            <pc:sldMk cId="4114424017" sldId="342"/>
            <ac:spMk id="11" creationId="{32873532-4DAB-46C2-9B1C-F38B26BCDC39}"/>
          </ac:spMkLst>
        </pc:spChg>
        <pc:spChg chg="mod">
          <ac:chgData name="Guest User" userId="S::urn:spo:anon#c437c167f923f422528aee73b5e70e5726914197d2dec7f210a84ae49e8498a7::" providerId="AD" clId="Web-{B44790BB-80A1-81C6-8736-235CC973D5CE}" dt="2022-04-01T15:37:19.490" v="781"/>
          <ac:spMkLst>
            <pc:docMk/>
            <pc:sldMk cId="4114424017" sldId="342"/>
            <ac:spMk id="29" creationId="{76F8C6E7-F209-41F4-BEFF-E33A2664F7DA}"/>
          </ac:spMkLst>
        </pc:spChg>
        <pc:graphicFrameChg chg="mod modGraphic">
          <ac:chgData name="Guest User" userId="S::urn:spo:anon#c437c167f923f422528aee73b5e70e5726914197d2dec7f210a84ae49e8498a7::" providerId="AD" clId="Web-{B44790BB-80A1-81C6-8736-235CC973D5CE}" dt="2022-04-01T15:38:05.647" v="877"/>
          <ac:graphicFrameMkLst>
            <pc:docMk/>
            <pc:sldMk cId="4114424017" sldId="342"/>
            <ac:graphicFrameMk id="23" creationId="{F4A84191-3BFB-48AA-A343-19DE4EA3891C}"/>
          </ac:graphicFrameMkLst>
        </pc:graphicFrameChg>
      </pc:sldChg>
      <pc:sldChg chg="modSp">
        <pc:chgData name="Guest User" userId="S::urn:spo:anon#c437c167f923f422528aee73b5e70e5726914197d2dec7f210a84ae49e8498a7::" providerId="AD" clId="Web-{B44790BB-80A1-81C6-8736-235CC973D5CE}" dt="2022-04-01T14:22:43.117" v="335" actId="20577"/>
        <pc:sldMkLst>
          <pc:docMk/>
          <pc:sldMk cId="211703589" sldId="343"/>
        </pc:sldMkLst>
        <pc:spChg chg="mod">
          <ac:chgData name="Guest User" userId="S::urn:spo:anon#c437c167f923f422528aee73b5e70e5726914197d2dec7f210a84ae49e8498a7::" providerId="AD" clId="Web-{B44790BB-80A1-81C6-8736-235CC973D5CE}" dt="2022-04-01T14:22:43.117" v="335" actId="20577"/>
          <ac:spMkLst>
            <pc:docMk/>
            <pc:sldMk cId="211703589" sldId="343"/>
            <ac:spMk id="16" creationId="{F617743E-3F94-469A-92C2-0B08E1ECAF4E}"/>
          </ac:spMkLst>
        </pc:spChg>
      </pc:sldChg>
      <pc:sldChg chg="modSp ord">
        <pc:chgData name="Guest User" userId="S::urn:spo:anon#c437c167f923f422528aee73b5e70e5726914197d2dec7f210a84ae49e8498a7::" providerId="AD" clId="Web-{B44790BB-80A1-81C6-8736-235CC973D5CE}" dt="2022-04-01T15:42:14.120" v="1073" actId="20577"/>
        <pc:sldMkLst>
          <pc:docMk/>
          <pc:sldMk cId="754587697" sldId="352"/>
        </pc:sldMkLst>
        <pc:spChg chg="mod">
          <ac:chgData name="Guest User" userId="S::urn:spo:anon#c437c167f923f422528aee73b5e70e5726914197d2dec7f210a84ae49e8498a7::" providerId="AD" clId="Web-{B44790BB-80A1-81C6-8736-235CC973D5CE}" dt="2022-04-01T15:42:14.120" v="1073" actId="20577"/>
          <ac:spMkLst>
            <pc:docMk/>
            <pc:sldMk cId="754587697" sldId="352"/>
            <ac:spMk id="8" creationId="{8F69E7F7-DBB9-40B0-9935-C325CC79771F}"/>
          </ac:spMkLst>
        </pc:spChg>
      </pc:sldChg>
      <pc:sldChg chg="del">
        <pc:chgData name="Guest User" userId="S::urn:spo:anon#c437c167f923f422528aee73b5e70e5726914197d2dec7f210a84ae49e8498a7::" providerId="AD" clId="Web-{B44790BB-80A1-81C6-8736-235CC973D5CE}" dt="2022-04-01T15:39:01.882" v="883"/>
        <pc:sldMkLst>
          <pc:docMk/>
          <pc:sldMk cId="2527603155" sldId="353"/>
        </pc:sldMkLst>
      </pc:sldChg>
      <pc:sldChg chg="del">
        <pc:chgData name="Guest User" userId="S::urn:spo:anon#c437c167f923f422528aee73b5e70e5726914197d2dec7f210a84ae49e8498a7::" providerId="AD" clId="Web-{B44790BB-80A1-81C6-8736-235CC973D5CE}" dt="2022-04-01T15:38:56.491" v="882"/>
        <pc:sldMkLst>
          <pc:docMk/>
          <pc:sldMk cId="2901620941" sldId="362"/>
        </pc:sldMkLst>
      </pc:sldChg>
      <pc:sldChg chg="del">
        <pc:chgData name="Guest User" userId="S::urn:spo:anon#c437c167f923f422528aee73b5e70e5726914197d2dec7f210a84ae49e8498a7::" providerId="AD" clId="Web-{B44790BB-80A1-81C6-8736-235CC973D5CE}" dt="2022-04-01T15:36:07.941" v="703"/>
        <pc:sldMkLst>
          <pc:docMk/>
          <pc:sldMk cId="806044536" sldId="364"/>
        </pc:sldMkLst>
      </pc:sldChg>
      <pc:sldChg chg="addSp modSp">
        <pc:chgData name="Guest User" userId="S::urn:spo:anon#c437c167f923f422528aee73b5e70e5726914197d2dec7f210a84ae49e8498a7::" providerId="AD" clId="Web-{B44790BB-80A1-81C6-8736-235CC973D5CE}" dt="2022-04-01T14:28:59.144" v="541" actId="1076"/>
        <pc:sldMkLst>
          <pc:docMk/>
          <pc:sldMk cId="2576879601" sldId="365"/>
        </pc:sldMkLst>
        <pc:spChg chg="add mod">
          <ac:chgData name="Guest User" userId="S::urn:spo:anon#c437c167f923f422528aee73b5e70e5726914197d2dec7f210a84ae49e8498a7::" providerId="AD" clId="Web-{B44790BB-80A1-81C6-8736-235CC973D5CE}" dt="2022-04-01T14:28:59.144" v="541" actId="1076"/>
          <ac:spMkLst>
            <pc:docMk/>
            <pc:sldMk cId="2576879601" sldId="365"/>
            <ac:spMk id="8" creationId="{BAE03099-60F2-2556-8330-F7C06AE829D3}"/>
          </ac:spMkLst>
        </pc:spChg>
      </pc:sldChg>
      <pc:sldChg chg="addSp modSp ord">
        <pc:chgData name="Guest User" userId="S::urn:spo:anon#c437c167f923f422528aee73b5e70e5726914197d2dec7f210a84ae49e8498a7::" providerId="AD" clId="Web-{B44790BB-80A1-81C6-8736-235CC973D5CE}" dt="2022-04-01T14:28:50.034" v="539" actId="20577"/>
        <pc:sldMkLst>
          <pc:docMk/>
          <pc:sldMk cId="1695560817" sldId="366"/>
        </pc:sldMkLst>
        <pc:spChg chg="add mod">
          <ac:chgData name="Guest User" userId="S::urn:spo:anon#c437c167f923f422528aee73b5e70e5726914197d2dec7f210a84ae49e8498a7::" providerId="AD" clId="Web-{B44790BB-80A1-81C6-8736-235CC973D5CE}" dt="2022-04-01T14:28:50.034" v="539" actId="20577"/>
          <ac:spMkLst>
            <pc:docMk/>
            <pc:sldMk cId="1695560817" sldId="366"/>
            <ac:spMk id="3" creationId="{F1048966-CD25-3754-6E9D-DB4371B1B8BB}"/>
          </ac:spMkLst>
        </pc:spChg>
      </pc:sldChg>
      <pc:sldChg chg="addSp delSp modSp">
        <pc:chgData name="Guest User" userId="S::urn:spo:anon#c437c167f923f422528aee73b5e70e5726914197d2dec7f210a84ae49e8498a7::" providerId="AD" clId="Web-{B44790BB-80A1-81C6-8736-235CC973D5CE}" dt="2022-04-01T14:29:51.895" v="624" actId="20577"/>
        <pc:sldMkLst>
          <pc:docMk/>
          <pc:sldMk cId="3762238417" sldId="367"/>
        </pc:sldMkLst>
        <pc:spChg chg="mod">
          <ac:chgData name="Guest User" userId="S::urn:spo:anon#c437c167f923f422528aee73b5e70e5726914197d2dec7f210a84ae49e8498a7::" providerId="AD" clId="Web-{B44790BB-80A1-81C6-8736-235CC973D5CE}" dt="2022-04-01T14:29:42.176" v="621" actId="20577"/>
          <ac:spMkLst>
            <pc:docMk/>
            <pc:sldMk cId="3762238417" sldId="367"/>
            <ac:spMk id="2" creationId="{AB52A157-2CB8-6DCB-8D3B-00713BF25DCA}"/>
          </ac:spMkLst>
        </pc:spChg>
        <pc:spChg chg="mod">
          <ac:chgData name="Guest User" userId="S::urn:spo:anon#c437c167f923f422528aee73b5e70e5726914197d2dec7f210a84ae49e8498a7::" providerId="AD" clId="Web-{B44790BB-80A1-81C6-8736-235CC973D5CE}" dt="2022-04-01T14:29:51.895" v="624" actId="20577"/>
          <ac:spMkLst>
            <pc:docMk/>
            <pc:sldMk cId="3762238417" sldId="367"/>
            <ac:spMk id="5" creationId="{36D64229-262E-4A6E-9C18-00F422DCB439}"/>
          </ac:spMkLst>
        </pc:spChg>
        <pc:spChg chg="mod">
          <ac:chgData name="Guest User" userId="S::urn:spo:anon#c437c167f923f422528aee73b5e70e5726914197d2dec7f210a84ae49e8498a7::" providerId="AD" clId="Web-{B44790BB-80A1-81C6-8736-235CC973D5CE}" dt="2022-04-01T14:29:21.394" v="571" actId="20577"/>
          <ac:spMkLst>
            <pc:docMk/>
            <pc:sldMk cId="3762238417" sldId="367"/>
            <ac:spMk id="9" creationId="{A559BC09-4387-488E-85BC-CBE75B1CE17C}"/>
          </ac:spMkLst>
        </pc:spChg>
        <pc:spChg chg="add del mod">
          <ac:chgData name="Guest User" userId="S::urn:spo:anon#c437c167f923f422528aee73b5e70e5726914197d2dec7f210a84ae49e8498a7::" providerId="AD" clId="Web-{B44790BB-80A1-81C6-8736-235CC973D5CE}" dt="2022-04-01T14:29:37.520" v="615"/>
          <ac:spMkLst>
            <pc:docMk/>
            <pc:sldMk cId="3762238417" sldId="367"/>
            <ac:spMk id="10" creationId="{9B238149-5751-AA15-6205-1659C9689B34}"/>
          </ac:spMkLst>
        </pc:spChg>
      </pc:sldChg>
      <pc:sldChg chg="del">
        <pc:chgData name="Guest User" userId="S::urn:spo:anon#c437c167f923f422528aee73b5e70e5726914197d2dec7f210a84ae49e8498a7::" providerId="AD" clId="Web-{B44790BB-80A1-81C6-8736-235CC973D5CE}" dt="2022-04-01T14:16:02.075" v="20"/>
        <pc:sldMkLst>
          <pc:docMk/>
          <pc:sldMk cId="2478994861" sldId="368"/>
        </pc:sldMkLst>
      </pc:sldChg>
      <pc:sldChg chg="modSp">
        <pc:chgData name="Guest User" userId="S::urn:spo:anon#c437c167f923f422528aee73b5e70e5726914197d2dec7f210a84ae49e8498a7::" providerId="AD" clId="Web-{B44790BB-80A1-81C6-8736-235CC973D5CE}" dt="2022-04-01T14:23:28.931" v="403" actId="20577"/>
        <pc:sldMkLst>
          <pc:docMk/>
          <pc:sldMk cId="874573340" sldId="373"/>
        </pc:sldMkLst>
        <pc:spChg chg="mod">
          <ac:chgData name="Guest User" userId="S::urn:spo:anon#c437c167f923f422528aee73b5e70e5726914197d2dec7f210a84ae49e8498a7::" providerId="AD" clId="Web-{B44790BB-80A1-81C6-8736-235CC973D5CE}" dt="2022-04-01T14:23:09.165" v="364" actId="20577"/>
          <ac:spMkLst>
            <pc:docMk/>
            <pc:sldMk cId="874573340" sldId="373"/>
            <ac:spMk id="16" creationId="{FA350308-1FE7-45EE-B3DC-3D3434DF4E7B}"/>
          </ac:spMkLst>
        </pc:spChg>
        <pc:spChg chg="mod">
          <ac:chgData name="Guest User" userId="S::urn:spo:anon#c437c167f923f422528aee73b5e70e5726914197d2dec7f210a84ae49e8498a7::" providerId="AD" clId="Web-{B44790BB-80A1-81C6-8736-235CC973D5CE}" dt="2022-04-01T14:23:28.931" v="403" actId="20577"/>
          <ac:spMkLst>
            <pc:docMk/>
            <pc:sldMk cId="874573340" sldId="373"/>
            <ac:spMk id="572" creationId="{00000000-0000-0000-0000-000000000000}"/>
          </ac:spMkLst>
        </pc:spChg>
      </pc:sldChg>
      <pc:sldChg chg="addSp delSp modSp add ord replId">
        <pc:chgData name="Guest User" userId="S::urn:spo:anon#c437c167f923f422528aee73b5e70e5726914197d2dec7f210a84ae49e8498a7::" providerId="AD" clId="Web-{B44790BB-80A1-81C6-8736-235CC973D5CE}" dt="2022-04-01T14:28:21.705" v="518" actId="1076"/>
        <pc:sldMkLst>
          <pc:docMk/>
          <pc:sldMk cId="3514561185" sldId="374"/>
        </pc:sldMkLst>
        <pc:spChg chg="add mod">
          <ac:chgData name="Guest User" userId="S::urn:spo:anon#c437c167f923f422528aee73b5e70e5726914197d2dec7f210a84ae49e8498a7::" providerId="AD" clId="Web-{B44790BB-80A1-81C6-8736-235CC973D5CE}" dt="2022-04-01T14:28:09.361" v="494" actId="1076"/>
          <ac:spMkLst>
            <pc:docMk/>
            <pc:sldMk cId="3514561185" sldId="374"/>
            <ac:spMk id="2" creationId="{06BE3DF2-FF5A-32FB-904D-F3B56CDAAEDC}"/>
          </ac:spMkLst>
        </pc:spChg>
        <pc:spChg chg="add mod">
          <ac:chgData name="Guest User" userId="S::urn:spo:anon#c437c167f923f422528aee73b5e70e5726914197d2dec7f210a84ae49e8498a7::" providerId="AD" clId="Web-{B44790BB-80A1-81C6-8736-235CC973D5CE}" dt="2022-04-01T14:28:21.705" v="518" actId="1076"/>
          <ac:spMkLst>
            <pc:docMk/>
            <pc:sldMk cId="3514561185" sldId="374"/>
            <ac:spMk id="11" creationId="{A9B97C9C-0C93-045F-4501-F39E80FF554F}"/>
          </ac:spMkLst>
        </pc:spChg>
        <pc:picChg chg="del">
          <ac:chgData name="Guest User" userId="S::urn:spo:anon#c437c167f923f422528aee73b5e70e5726914197d2dec7f210a84ae49e8498a7::" providerId="AD" clId="Web-{B44790BB-80A1-81C6-8736-235CC973D5CE}" dt="2022-04-01T14:27:53.189" v="458"/>
          <ac:picMkLst>
            <pc:docMk/>
            <pc:sldMk cId="3514561185" sldId="374"/>
            <ac:picMk id="338" creationId="{00000000-0000-0000-0000-000000000000}"/>
          </ac:picMkLst>
        </pc:picChg>
      </pc:sldChg>
      <pc:sldChg chg="modSp add replId">
        <pc:chgData name="Guest User" userId="S::urn:spo:anon#c437c167f923f422528aee73b5e70e5726914197d2dec7f210a84ae49e8498a7::" providerId="AD" clId="Web-{B44790BB-80A1-81C6-8736-235CC973D5CE}" dt="2022-04-01T15:36:07.785" v="702" actId="20577"/>
        <pc:sldMkLst>
          <pc:docMk/>
          <pc:sldMk cId="604654217" sldId="375"/>
        </pc:sldMkLst>
        <pc:spChg chg="mod">
          <ac:chgData name="Guest User" userId="S::urn:spo:anon#c437c167f923f422528aee73b5e70e5726914197d2dec7f210a84ae49e8498a7::" providerId="AD" clId="Web-{B44790BB-80A1-81C6-8736-235CC973D5CE}" dt="2022-04-01T15:36:07.785" v="702" actId="20577"/>
          <ac:spMkLst>
            <pc:docMk/>
            <pc:sldMk cId="604654217" sldId="375"/>
            <ac:spMk id="2" creationId="{AB52A157-2CB8-6DCB-8D3B-00713BF25DCA}"/>
          </ac:spMkLst>
        </pc:spChg>
        <pc:spChg chg="mod">
          <ac:chgData name="Guest User" userId="S::urn:spo:anon#c437c167f923f422528aee73b5e70e5726914197d2dec7f210a84ae49e8498a7::" providerId="AD" clId="Web-{B44790BB-80A1-81C6-8736-235CC973D5CE}" dt="2022-04-01T14:29:57.474" v="627" actId="20577"/>
          <ac:spMkLst>
            <pc:docMk/>
            <pc:sldMk cId="604654217" sldId="375"/>
            <ac:spMk id="5" creationId="{36D64229-262E-4A6E-9C18-00F422DCB439}"/>
          </ac:spMkLst>
        </pc:spChg>
        <pc:spChg chg="mod">
          <ac:chgData name="Guest User" userId="S::urn:spo:anon#c437c167f923f422528aee73b5e70e5726914197d2dec7f210a84ae49e8498a7::" providerId="AD" clId="Web-{B44790BB-80A1-81C6-8736-235CC973D5CE}" dt="2022-04-01T14:30:03.677" v="682" actId="20577"/>
          <ac:spMkLst>
            <pc:docMk/>
            <pc:sldMk cId="604654217" sldId="375"/>
            <ac:spMk id="9" creationId="{A559BC09-4387-488E-85BC-CBE75B1CE17C}"/>
          </ac:spMkLst>
        </pc:spChg>
      </pc:sldChg>
      <pc:sldChg chg="modSp add ord replId">
        <pc:chgData name="Guest User" userId="S::urn:spo:anon#c437c167f923f422528aee73b5e70e5726914197d2dec7f210a84ae49e8498a7::" providerId="AD" clId="Web-{B44790BB-80A1-81C6-8736-235CC973D5CE}" dt="2022-04-01T15:43:03.137" v="1139" actId="20577"/>
        <pc:sldMkLst>
          <pc:docMk/>
          <pc:sldMk cId="108984178" sldId="376"/>
        </pc:sldMkLst>
        <pc:spChg chg="mod">
          <ac:chgData name="Guest User" userId="S::urn:spo:anon#c437c167f923f422528aee73b5e70e5726914197d2dec7f210a84ae49e8498a7::" providerId="AD" clId="Web-{B44790BB-80A1-81C6-8736-235CC973D5CE}" dt="2022-04-01T15:43:03.137" v="1139" actId="20577"/>
          <ac:spMkLst>
            <pc:docMk/>
            <pc:sldMk cId="108984178" sldId="376"/>
            <ac:spMk id="100" creationId="{523D7184-991A-457B-AD7E-9585D81AD188}"/>
          </ac:spMkLst>
        </pc:spChg>
        <pc:spChg chg="mod">
          <ac:chgData name="Guest User" userId="S::urn:spo:anon#c437c167f923f422528aee73b5e70e5726914197d2dec7f210a84ae49e8498a7::" providerId="AD" clId="Web-{B44790BB-80A1-81C6-8736-235CC973D5CE}" dt="2022-04-01T15:42:39.074" v="1088" actId="20577"/>
          <ac:spMkLst>
            <pc:docMk/>
            <pc:sldMk cId="108984178" sldId="376"/>
            <ac:spMk id="344" creationId="{00000000-0000-0000-0000-000000000000}"/>
          </ac:spMkLst>
        </pc:spChg>
      </pc:sldChg>
    </pc:docChg>
  </pc:docChgLst>
  <pc:docChgLst>
    <pc:chgData name="Guest User" userId="S::urn:spo:anon#c437c167f923f422528aee73b5e70e5726914197d2dec7f210a84ae49e8498a7::" providerId="AD" clId="Web-{30ECA80E-4E5D-E6F0-D0B6-551836425DE0}"/>
    <pc:docChg chg="addSld delSld modSld sldOrd">
      <pc:chgData name="Guest User" userId="S::urn:spo:anon#c437c167f923f422528aee73b5e70e5726914197d2dec7f210a84ae49e8498a7::" providerId="AD" clId="Web-{30ECA80E-4E5D-E6F0-D0B6-551836425DE0}" dt="2022-03-28T03:35:50.970" v="63" actId="14100"/>
      <pc:docMkLst>
        <pc:docMk/>
      </pc:docMkLst>
      <pc:sldChg chg="delSp modSp">
        <pc:chgData name="Guest User" userId="S::urn:spo:anon#c437c167f923f422528aee73b5e70e5726914197d2dec7f210a84ae49e8498a7::" providerId="AD" clId="Web-{30ECA80E-4E5D-E6F0-D0B6-551836425DE0}" dt="2022-03-28T03:32:16.956" v="16"/>
        <pc:sldMkLst>
          <pc:docMk/>
          <pc:sldMk cId="0" sldId="257"/>
        </pc:sldMkLst>
        <pc:spChg chg="del">
          <ac:chgData name="Guest User" userId="S::urn:spo:anon#c437c167f923f422528aee73b5e70e5726914197d2dec7f210a84ae49e8498a7::" providerId="AD" clId="Web-{30ECA80E-4E5D-E6F0-D0B6-551836425DE0}" dt="2022-03-28T03:31:36.828" v="1"/>
          <ac:spMkLst>
            <pc:docMk/>
            <pc:sldMk cId="0" sldId="257"/>
            <ac:spMk id="3" creationId="{39609F45-5196-405D-A25B-0B3CF8FD192A}"/>
          </ac:spMkLst>
        </pc:spChg>
        <pc:spChg chg="mod">
          <ac:chgData name="Guest User" userId="S::urn:spo:anon#c437c167f923f422528aee73b5e70e5726914197d2dec7f210a84ae49e8498a7::" providerId="AD" clId="Web-{30ECA80E-4E5D-E6F0-D0B6-551836425DE0}" dt="2022-03-28T03:32:13.596" v="15" actId="20577"/>
          <ac:spMkLst>
            <pc:docMk/>
            <pc:sldMk cId="0" sldId="257"/>
            <ac:spMk id="44" creationId="{28E8AA2B-7E30-48CF-86E4-5464130C7279}"/>
          </ac:spMkLst>
        </pc:spChg>
        <pc:spChg chg="del">
          <ac:chgData name="Guest User" userId="S::urn:spo:anon#c437c167f923f422528aee73b5e70e5726914197d2dec7f210a84ae49e8498a7::" providerId="AD" clId="Web-{30ECA80E-4E5D-E6F0-D0B6-551836425DE0}" dt="2022-03-28T03:31:41.563" v="4"/>
          <ac:spMkLst>
            <pc:docMk/>
            <pc:sldMk cId="0" sldId="257"/>
            <ac:spMk id="47" creationId="{C5E20432-F495-4AE8-8931-143A4C1D3844}"/>
          </ac:spMkLst>
        </pc:spChg>
        <pc:spChg chg="mod">
          <ac:chgData name="Guest User" userId="S::urn:spo:anon#c437c167f923f422528aee73b5e70e5726914197d2dec7f210a84ae49e8498a7::" providerId="AD" clId="Web-{30ECA80E-4E5D-E6F0-D0B6-551836425DE0}" dt="2022-03-28T03:32:05.846" v="9" actId="1076"/>
          <ac:spMkLst>
            <pc:docMk/>
            <pc:sldMk cId="0" sldId="257"/>
            <ac:spMk id="212" creationId="{00000000-0000-0000-0000-000000000000}"/>
          </ac:spMkLst>
        </pc:spChg>
        <pc:spChg chg="mod">
          <ac:chgData name="Guest User" userId="S::urn:spo:anon#c437c167f923f422528aee73b5e70e5726914197d2dec7f210a84ae49e8498a7::" providerId="AD" clId="Web-{30ECA80E-4E5D-E6F0-D0B6-551836425DE0}" dt="2022-03-28T03:32:11.252" v="13" actId="1076"/>
          <ac:spMkLst>
            <pc:docMk/>
            <pc:sldMk cId="0" sldId="257"/>
            <ac:spMk id="213" creationId="{00000000-0000-0000-0000-000000000000}"/>
          </ac:spMkLst>
        </pc:spChg>
        <pc:spChg chg="del">
          <ac:chgData name="Guest User" userId="S::urn:spo:anon#c437c167f923f422528aee73b5e70e5726914197d2dec7f210a84ae49e8498a7::" providerId="AD" clId="Web-{30ECA80E-4E5D-E6F0-D0B6-551836425DE0}" dt="2022-03-28T03:31:37.781" v="2"/>
          <ac:spMkLst>
            <pc:docMk/>
            <pc:sldMk cId="0" sldId="257"/>
            <ac:spMk id="214" creationId="{00000000-0000-0000-0000-000000000000}"/>
          </ac:spMkLst>
        </pc:spChg>
        <pc:spChg chg="del topLvl">
          <ac:chgData name="Guest User" userId="S::urn:spo:anon#c437c167f923f422528aee73b5e70e5726914197d2dec7f210a84ae49e8498a7::" providerId="AD" clId="Web-{30ECA80E-4E5D-E6F0-D0B6-551836425DE0}" dt="2022-03-28T03:31:40.563" v="3"/>
          <ac:spMkLst>
            <pc:docMk/>
            <pc:sldMk cId="0" sldId="257"/>
            <ac:spMk id="217" creationId="{00000000-0000-0000-0000-000000000000}"/>
          </ac:spMkLst>
        </pc:spChg>
        <pc:grpChg chg="del">
          <ac:chgData name="Guest User" userId="S::urn:spo:anon#c437c167f923f422528aee73b5e70e5726914197d2dec7f210a84ae49e8498a7::" providerId="AD" clId="Web-{30ECA80E-4E5D-E6F0-D0B6-551836425DE0}" dt="2022-03-28T03:32:16.956" v="16"/>
          <ac:grpSpMkLst>
            <pc:docMk/>
            <pc:sldMk cId="0" sldId="257"/>
            <ac:grpSpMk id="2" creationId="{DEEECA5A-E03F-4135-992C-2C488710BE1C}"/>
          </ac:grpSpMkLst>
        </pc:grpChg>
        <pc:grpChg chg="del">
          <ac:chgData name="Guest User" userId="S::urn:spo:anon#c437c167f923f422528aee73b5e70e5726914197d2dec7f210a84ae49e8498a7::" providerId="AD" clId="Web-{30ECA80E-4E5D-E6F0-D0B6-551836425DE0}" dt="2022-03-28T03:31:40.563" v="3"/>
          <ac:grpSpMkLst>
            <pc:docMk/>
            <pc:sldMk cId="0" sldId="257"/>
            <ac:grpSpMk id="215" creationId="{00000000-0000-0000-0000-000000000000}"/>
          </ac:grpSpMkLst>
        </pc:grpChg>
        <pc:grpChg chg="mod">
          <ac:chgData name="Guest User" userId="S::urn:spo:anon#c437c167f923f422528aee73b5e70e5726914197d2dec7f210a84ae49e8498a7::" providerId="AD" clId="Web-{30ECA80E-4E5D-E6F0-D0B6-551836425DE0}" dt="2022-03-28T03:31:52.501" v="6" actId="1076"/>
          <ac:grpSpMkLst>
            <pc:docMk/>
            <pc:sldMk cId="0" sldId="257"/>
            <ac:grpSpMk id="228" creationId="{00000000-0000-0000-0000-000000000000}"/>
          </ac:grpSpMkLst>
        </pc:grpChg>
        <pc:picChg chg="mod">
          <ac:chgData name="Guest User" userId="S::urn:spo:anon#c437c167f923f422528aee73b5e70e5726914197d2dec7f210a84ae49e8498a7::" providerId="AD" clId="Web-{30ECA80E-4E5D-E6F0-D0B6-551836425DE0}" dt="2022-03-28T03:32:05.908" v="12" actId="1076"/>
          <ac:picMkLst>
            <pc:docMk/>
            <pc:sldMk cId="0" sldId="257"/>
            <ac:picMk id="6" creationId="{7948A3F3-9796-46CE-9F61-00A80F8DEF69}"/>
          </ac:picMkLst>
        </pc:picChg>
        <pc:picChg chg="del">
          <ac:chgData name="Guest User" userId="S::urn:spo:anon#c437c167f923f422528aee73b5e70e5726914197d2dec7f210a84ae49e8498a7::" providerId="AD" clId="Web-{30ECA80E-4E5D-E6F0-D0B6-551836425DE0}" dt="2022-03-28T03:31:33.594" v="0"/>
          <ac:picMkLst>
            <pc:docMk/>
            <pc:sldMk cId="0" sldId="257"/>
            <ac:picMk id="200" creationId="{00000000-0000-0000-0000-000000000000}"/>
          </ac:picMkLst>
        </pc:picChg>
        <pc:picChg chg="mod">
          <ac:chgData name="Guest User" userId="S::urn:spo:anon#c437c167f923f422528aee73b5e70e5726914197d2dec7f210a84ae49e8498a7::" providerId="AD" clId="Web-{30ECA80E-4E5D-E6F0-D0B6-551836425DE0}" dt="2022-03-28T03:32:05.815" v="7" actId="1076"/>
          <ac:picMkLst>
            <pc:docMk/>
            <pc:sldMk cId="0" sldId="257"/>
            <ac:picMk id="201" creationId="{00000000-0000-0000-0000-000000000000}"/>
          </ac:picMkLst>
        </pc:picChg>
        <pc:picChg chg="mod">
          <ac:chgData name="Guest User" userId="S::urn:spo:anon#c437c167f923f422528aee73b5e70e5726914197d2dec7f210a84ae49e8498a7::" providerId="AD" clId="Web-{30ECA80E-4E5D-E6F0-D0B6-551836425DE0}" dt="2022-03-28T03:32:05.830" v="8" actId="1076"/>
          <ac:picMkLst>
            <pc:docMk/>
            <pc:sldMk cId="0" sldId="257"/>
            <ac:picMk id="202" creationId="{00000000-0000-0000-0000-000000000000}"/>
          </ac:picMkLst>
        </pc:picChg>
        <pc:picChg chg="del topLvl">
          <ac:chgData name="Guest User" userId="S::urn:spo:anon#c437c167f923f422528aee73b5e70e5726914197d2dec7f210a84ae49e8498a7::" providerId="AD" clId="Web-{30ECA80E-4E5D-E6F0-D0B6-551836425DE0}" dt="2022-03-28T03:31:42.766" v="5"/>
          <ac:picMkLst>
            <pc:docMk/>
            <pc:sldMk cId="0" sldId="257"/>
            <ac:picMk id="216" creationId="{00000000-0000-0000-0000-000000000000}"/>
          </ac:picMkLst>
        </pc:picChg>
      </pc:sldChg>
      <pc:sldChg chg="ord">
        <pc:chgData name="Guest User" userId="S::urn:spo:anon#c437c167f923f422528aee73b5e70e5726914197d2dec7f210a84ae49e8498a7::" providerId="AD" clId="Web-{30ECA80E-4E5D-E6F0-D0B6-551836425DE0}" dt="2022-03-28T03:34:20.745" v="28"/>
        <pc:sldMkLst>
          <pc:docMk/>
          <pc:sldMk cId="0" sldId="260"/>
        </pc:sldMkLst>
      </pc:sldChg>
      <pc:sldChg chg="modSp ord">
        <pc:chgData name="Guest User" userId="S::urn:spo:anon#c437c167f923f422528aee73b5e70e5726914197d2dec7f210a84ae49e8498a7::" providerId="AD" clId="Web-{30ECA80E-4E5D-E6F0-D0B6-551836425DE0}" dt="2022-03-28T03:34:20.730" v="27"/>
        <pc:sldMkLst>
          <pc:docMk/>
          <pc:sldMk cId="0" sldId="261"/>
        </pc:sldMkLst>
        <pc:spChg chg="mod">
          <ac:chgData name="Guest User" userId="S::urn:spo:anon#c437c167f923f422528aee73b5e70e5726914197d2dec7f210a84ae49e8498a7::" providerId="AD" clId="Web-{30ECA80E-4E5D-E6F0-D0B6-551836425DE0}" dt="2022-03-28T03:32:33.144" v="17" actId="20577"/>
          <ac:spMkLst>
            <pc:docMk/>
            <pc:sldMk cId="0" sldId="261"/>
            <ac:spMk id="331" creationId="{00000000-0000-0000-0000-000000000000}"/>
          </ac:spMkLst>
        </pc:spChg>
      </pc:sldChg>
      <pc:sldChg chg="modSp ord">
        <pc:chgData name="Guest User" userId="S::urn:spo:anon#c437c167f923f422528aee73b5e70e5726914197d2dec7f210a84ae49e8498a7::" providerId="AD" clId="Web-{30ECA80E-4E5D-E6F0-D0B6-551836425DE0}" dt="2022-03-28T03:34:46.653" v="30"/>
        <pc:sldMkLst>
          <pc:docMk/>
          <pc:sldMk cId="0" sldId="263"/>
        </pc:sldMkLst>
        <pc:spChg chg="mod">
          <ac:chgData name="Guest User" userId="S::urn:spo:anon#c437c167f923f422528aee73b5e70e5726914197d2dec7f210a84ae49e8498a7::" providerId="AD" clId="Web-{30ECA80E-4E5D-E6F0-D0B6-551836425DE0}" dt="2022-03-28T03:34:07.635" v="25" actId="20577"/>
          <ac:spMkLst>
            <pc:docMk/>
            <pc:sldMk cId="0" sldId="263"/>
            <ac:spMk id="460" creationId="{00000000-0000-0000-0000-000000000000}"/>
          </ac:spMkLst>
        </pc:spChg>
      </pc:sldChg>
      <pc:sldChg chg="modSp">
        <pc:chgData name="Guest User" userId="S::urn:spo:anon#c437c167f923f422528aee73b5e70e5726914197d2dec7f210a84ae49e8498a7::" providerId="AD" clId="Web-{30ECA80E-4E5D-E6F0-D0B6-551836425DE0}" dt="2022-03-28T03:33:31.789" v="21" actId="20577"/>
        <pc:sldMkLst>
          <pc:docMk/>
          <pc:sldMk cId="0" sldId="275"/>
        </pc:sldMkLst>
        <pc:spChg chg="mod">
          <ac:chgData name="Guest User" userId="S::urn:spo:anon#c437c167f923f422528aee73b5e70e5726914197d2dec7f210a84ae49e8498a7::" providerId="AD" clId="Web-{30ECA80E-4E5D-E6F0-D0B6-551836425DE0}" dt="2022-03-28T03:33:31.789" v="21" actId="20577"/>
          <ac:spMkLst>
            <pc:docMk/>
            <pc:sldMk cId="0" sldId="275"/>
            <ac:spMk id="692" creationId="{00000000-0000-0000-0000-000000000000}"/>
          </ac:spMkLst>
        </pc:spChg>
      </pc:sldChg>
      <pc:sldChg chg="modSp ord">
        <pc:chgData name="Guest User" userId="S::urn:spo:anon#c437c167f923f422528aee73b5e70e5726914197d2dec7f210a84ae49e8498a7::" providerId="AD" clId="Web-{30ECA80E-4E5D-E6F0-D0B6-551836425DE0}" dt="2022-03-28T03:34:29.168" v="29" actId="20577"/>
        <pc:sldMkLst>
          <pc:docMk/>
          <pc:sldMk cId="2486721525" sldId="341"/>
        </pc:sldMkLst>
        <pc:spChg chg="mod">
          <ac:chgData name="Guest User" userId="S::urn:spo:anon#c437c167f923f422528aee73b5e70e5726914197d2dec7f210a84ae49e8498a7::" providerId="AD" clId="Web-{30ECA80E-4E5D-E6F0-D0B6-551836425DE0}" dt="2022-03-28T03:34:29.168" v="29" actId="20577"/>
          <ac:spMkLst>
            <pc:docMk/>
            <pc:sldMk cId="2486721525" sldId="341"/>
            <ac:spMk id="344" creationId="{00000000-0000-0000-0000-000000000000}"/>
          </ac:spMkLst>
        </pc:spChg>
      </pc:sldChg>
      <pc:sldChg chg="modSp">
        <pc:chgData name="Guest User" userId="S::urn:spo:anon#c437c167f923f422528aee73b5e70e5726914197d2dec7f210a84ae49e8498a7::" providerId="AD" clId="Web-{30ECA80E-4E5D-E6F0-D0B6-551836425DE0}" dt="2022-03-28T03:35:50.970" v="63" actId="14100"/>
        <pc:sldMkLst>
          <pc:docMk/>
          <pc:sldMk cId="4114424017" sldId="342"/>
        </pc:sldMkLst>
        <pc:spChg chg="mod">
          <ac:chgData name="Guest User" userId="S::urn:spo:anon#c437c167f923f422528aee73b5e70e5726914197d2dec7f210a84ae49e8498a7::" providerId="AD" clId="Web-{30ECA80E-4E5D-E6F0-D0B6-551836425DE0}" dt="2022-03-28T03:35:50.970" v="63" actId="14100"/>
          <ac:spMkLst>
            <pc:docMk/>
            <pc:sldMk cId="4114424017" sldId="342"/>
            <ac:spMk id="2" creationId="{4D5921D8-9182-46DA-BF73-3160B3589AF0}"/>
          </ac:spMkLst>
        </pc:spChg>
      </pc:sldChg>
      <pc:sldChg chg="del">
        <pc:chgData name="Guest User" userId="S::urn:spo:anon#c437c167f923f422528aee73b5e70e5726914197d2dec7f210a84ae49e8498a7::" providerId="AD" clId="Web-{30ECA80E-4E5D-E6F0-D0B6-551836425DE0}" dt="2022-03-28T03:33:00.709" v="19"/>
        <pc:sldMkLst>
          <pc:docMk/>
          <pc:sldMk cId="4065509054" sldId="361"/>
        </pc:sldMkLst>
      </pc:sldChg>
      <pc:sldChg chg="modSp add replId">
        <pc:chgData name="Guest User" userId="S::urn:spo:anon#c437c167f923f422528aee73b5e70e5726914197d2dec7f210a84ae49e8498a7::" providerId="AD" clId="Web-{30ECA80E-4E5D-E6F0-D0B6-551836425DE0}" dt="2022-03-28T03:35:03.732" v="36" actId="20577"/>
        <pc:sldMkLst>
          <pc:docMk/>
          <pc:sldMk cId="1101287747" sldId="363"/>
        </pc:sldMkLst>
        <pc:spChg chg="mod">
          <ac:chgData name="Guest User" userId="S::urn:spo:anon#c437c167f923f422528aee73b5e70e5726914197d2dec7f210a84ae49e8498a7::" providerId="AD" clId="Web-{30ECA80E-4E5D-E6F0-D0B6-551836425DE0}" dt="2022-03-28T03:35:03.732" v="36" actId="20577"/>
          <ac:spMkLst>
            <pc:docMk/>
            <pc:sldMk cId="1101287747" sldId="363"/>
            <ac:spMk id="460" creationId="{00000000-0000-0000-0000-000000000000}"/>
          </ac:spMkLst>
        </pc:spChg>
      </pc:sldChg>
      <pc:sldChg chg="add ord replId">
        <pc:chgData name="Guest User" userId="S::urn:spo:anon#c437c167f923f422528aee73b5e70e5726914197d2dec7f210a84ae49e8498a7::" providerId="AD" clId="Web-{30ECA80E-4E5D-E6F0-D0B6-551836425DE0}" dt="2022-03-28T03:35:11.780" v="38"/>
        <pc:sldMkLst>
          <pc:docMk/>
          <pc:sldMk cId="806044536" sldId="364"/>
        </pc:sldMkLst>
      </pc:sldChg>
      <pc:sldChg chg="modSp new ord">
        <pc:chgData name="Guest User" userId="S::urn:spo:anon#c437c167f923f422528aee73b5e70e5726914197d2dec7f210a84ae49e8498a7::" providerId="AD" clId="Web-{30ECA80E-4E5D-E6F0-D0B6-551836425DE0}" dt="2022-03-28T03:35:32.891" v="53" actId="20577"/>
        <pc:sldMkLst>
          <pc:docMk/>
          <pc:sldMk cId="2576879601" sldId="365"/>
        </pc:sldMkLst>
        <pc:spChg chg="mod">
          <ac:chgData name="Guest User" userId="S::urn:spo:anon#c437c167f923f422528aee73b5e70e5726914197d2dec7f210a84ae49e8498a7::" providerId="AD" clId="Web-{30ECA80E-4E5D-E6F0-D0B6-551836425DE0}" dt="2022-03-28T03:35:32.891" v="53" actId="20577"/>
          <ac:spMkLst>
            <pc:docMk/>
            <pc:sldMk cId="2576879601" sldId="365"/>
            <ac:spMk id="2" creationId="{AB52A157-2CB8-6DCB-8D3B-00713BF25DCA}"/>
          </ac:spMkLst>
        </pc:spChg>
      </pc:sldChg>
    </pc:docChg>
  </pc:docChgLst>
  <pc:docChgLst>
    <pc:chgData name="Guest User" userId="S::urn:spo:anon#92e0bee1a612af7c1256e6aaf3dc4ec07c4151a598866b418723ef47912f2c2d::" providerId="AD" clId="Web-{D60EB00F-F736-758C-BCD1-FB61C735DDB4}"/>
    <pc:docChg chg="delSld modSld sldOrd">
      <pc:chgData name="Guest User" userId="S::urn:spo:anon#92e0bee1a612af7c1256e6aaf3dc4ec07c4151a598866b418723ef47912f2c2d::" providerId="AD" clId="Web-{D60EB00F-F736-758C-BCD1-FB61C735DDB4}" dt="2022-03-21T17:25:22.537" v="127" actId="14100"/>
      <pc:docMkLst>
        <pc:docMk/>
      </pc:docMkLst>
      <pc:sldChg chg="delSp">
        <pc:chgData name="Guest User" userId="S::urn:spo:anon#92e0bee1a612af7c1256e6aaf3dc4ec07c4151a598866b418723ef47912f2c2d::" providerId="AD" clId="Web-{D60EB00F-F736-758C-BCD1-FB61C735DDB4}" dt="2022-03-21T14:59:08.337" v="0"/>
        <pc:sldMkLst>
          <pc:docMk/>
          <pc:sldMk cId="0" sldId="257"/>
        </pc:sldMkLst>
        <pc:spChg chg="del">
          <ac:chgData name="Guest User" userId="S::urn:spo:anon#92e0bee1a612af7c1256e6aaf3dc4ec07c4151a598866b418723ef47912f2c2d::" providerId="AD" clId="Web-{D60EB00F-F736-758C-BCD1-FB61C735DDB4}" dt="2022-03-21T14:59:08.337" v="0"/>
          <ac:spMkLst>
            <pc:docMk/>
            <pc:sldMk cId="0" sldId="257"/>
            <ac:spMk id="2" creationId="{F0355976-ECFD-451C-9722-1FBB50212EF1}"/>
          </ac:spMkLst>
        </pc:spChg>
      </pc:sldChg>
      <pc:sldChg chg="addSp delSp modSp">
        <pc:chgData name="Guest User" userId="S::urn:spo:anon#92e0bee1a612af7c1256e6aaf3dc4ec07c4151a598866b418723ef47912f2c2d::" providerId="AD" clId="Web-{D60EB00F-F736-758C-BCD1-FB61C735DDB4}" dt="2022-03-21T15:03:54.689" v="57" actId="14100"/>
        <pc:sldMkLst>
          <pc:docMk/>
          <pc:sldMk cId="0" sldId="262"/>
        </pc:sldMkLst>
        <pc:spChg chg="add mod">
          <ac:chgData name="Guest User" userId="S::urn:spo:anon#92e0bee1a612af7c1256e6aaf3dc4ec07c4151a598866b418723ef47912f2c2d::" providerId="AD" clId="Web-{D60EB00F-F736-758C-BCD1-FB61C735DDB4}" dt="2022-03-21T15:01:51.967" v="31" actId="1076"/>
          <ac:spMkLst>
            <pc:docMk/>
            <pc:sldMk cId="0" sldId="262"/>
            <ac:spMk id="2" creationId="{16F0995F-6B60-4E73-B4E1-435614CD0A2C}"/>
          </ac:spMkLst>
        </pc:spChg>
        <pc:spChg chg="del">
          <ac:chgData name="Guest User" userId="S::urn:spo:anon#92e0bee1a612af7c1256e6aaf3dc4ec07c4151a598866b418723ef47912f2c2d::" providerId="AD" clId="Web-{D60EB00F-F736-758C-BCD1-FB61C735DDB4}" dt="2022-03-21T15:00:45.590" v="10"/>
          <ac:spMkLst>
            <pc:docMk/>
            <pc:sldMk cId="0" sldId="262"/>
            <ac:spMk id="3" creationId="{2DC3E4B2-4975-4103-9C00-0FA8F424A9A2}"/>
          </ac:spMkLst>
        </pc:spChg>
        <pc:spChg chg="add mod">
          <ac:chgData name="Guest User" userId="S::urn:spo:anon#92e0bee1a612af7c1256e6aaf3dc4ec07c4151a598866b418723ef47912f2c2d::" providerId="AD" clId="Web-{D60EB00F-F736-758C-BCD1-FB61C735DDB4}" dt="2022-03-21T15:01:51.998" v="32" actId="1076"/>
          <ac:spMkLst>
            <pc:docMk/>
            <pc:sldMk cId="0" sldId="262"/>
            <ac:spMk id="4" creationId="{6DEBA634-77BD-47BC-BE35-9E8586A9663B}"/>
          </ac:spMkLst>
        </pc:spChg>
        <pc:spChg chg="mod">
          <ac:chgData name="Guest User" userId="S::urn:spo:anon#92e0bee1a612af7c1256e6aaf3dc4ec07c4151a598866b418723ef47912f2c2d::" providerId="AD" clId="Web-{D60EB00F-F736-758C-BCD1-FB61C735DDB4}" dt="2022-03-21T15:02:28.046" v="40" actId="1076"/>
          <ac:spMkLst>
            <pc:docMk/>
            <pc:sldMk cId="0" sldId="262"/>
            <ac:spMk id="115" creationId="{E1B09134-0372-4CAF-82C4-955305B67393}"/>
          </ac:spMkLst>
        </pc:spChg>
        <pc:spChg chg="mod">
          <ac:chgData name="Guest User" userId="S::urn:spo:anon#92e0bee1a612af7c1256e6aaf3dc4ec07c4151a598866b418723ef47912f2c2d::" providerId="AD" clId="Web-{D60EB00F-F736-758C-BCD1-FB61C735DDB4}" dt="2022-03-21T15:02:39.734" v="42" actId="14100"/>
          <ac:spMkLst>
            <pc:docMk/>
            <pc:sldMk cId="0" sldId="262"/>
            <ac:spMk id="116" creationId="{473E579E-3692-41BD-8D3D-A49F032BB7D1}"/>
          </ac:spMkLst>
        </pc:spChg>
        <pc:spChg chg="mod">
          <ac:chgData name="Guest User" userId="S::urn:spo:anon#92e0bee1a612af7c1256e6aaf3dc4ec07c4151a598866b418723ef47912f2c2d::" providerId="AD" clId="Web-{D60EB00F-F736-758C-BCD1-FB61C735DDB4}" dt="2022-03-21T15:00:39.996" v="9" actId="20577"/>
          <ac:spMkLst>
            <pc:docMk/>
            <pc:sldMk cId="0" sldId="262"/>
            <ac:spMk id="344" creationId="{00000000-0000-0000-0000-000000000000}"/>
          </ac:spMkLst>
        </pc:spChg>
        <pc:spChg chg="mod">
          <ac:chgData name="Guest User" userId="S::urn:spo:anon#92e0bee1a612af7c1256e6aaf3dc4ec07c4151a598866b418723ef47912f2c2d::" providerId="AD" clId="Web-{D60EB00F-F736-758C-BCD1-FB61C735DDB4}" dt="2022-03-21T15:03:18.329" v="50" actId="14100"/>
          <ac:spMkLst>
            <pc:docMk/>
            <pc:sldMk cId="0" sldId="262"/>
            <ac:spMk id="404" creationId="{00000000-0000-0000-0000-000000000000}"/>
          </ac:spMkLst>
        </pc:spChg>
        <pc:spChg chg="del">
          <ac:chgData name="Guest User" userId="S::urn:spo:anon#92e0bee1a612af7c1256e6aaf3dc4ec07c4151a598866b418723ef47912f2c2d::" providerId="AD" clId="Web-{D60EB00F-F736-758C-BCD1-FB61C735DDB4}" dt="2022-03-21T15:03:14.891" v="49"/>
          <ac:spMkLst>
            <pc:docMk/>
            <pc:sldMk cId="0" sldId="262"/>
            <ac:spMk id="405" creationId="{00000000-0000-0000-0000-000000000000}"/>
          </ac:spMkLst>
        </pc:spChg>
        <pc:spChg chg="mod">
          <ac:chgData name="Guest User" userId="S::urn:spo:anon#92e0bee1a612af7c1256e6aaf3dc4ec07c4151a598866b418723ef47912f2c2d::" providerId="AD" clId="Web-{D60EB00F-F736-758C-BCD1-FB61C735DDB4}" dt="2022-03-21T15:03:54.689" v="57" actId="14100"/>
          <ac:spMkLst>
            <pc:docMk/>
            <pc:sldMk cId="0" sldId="262"/>
            <ac:spMk id="410" creationId="{00000000-0000-0000-0000-000000000000}"/>
          </ac:spMkLst>
        </pc:spChg>
        <pc:spChg chg="del mod">
          <ac:chgData name="Guest User" userId="S::urn:spo:anon#92e0bee1a612af7c1256e6aaf3dc4ec07c4151a598866b418723ef47912f2c2d::" providerId="AD" clId="Web-{D60EB00F-F736-758C-BCD1-FB61C735DDB4}" dt="2022-03-21T15:03:46.579" v="56"/>
          <ac:spMkLst>
            <pc:docMk/>
            <pc:sldMk cId="0" sldId="262"/>
            <ac:spMk id="413" creationId="{00000000-0000-0000-0000-000000000000}"/>
          </ac:spMkLst>
        </pc:spChg>
        <pc:spChg chg="del">
          <ac:chgData name="Guest User" userId="S::urn:spo:anon#92e0bee1a612af7c1256e6aaf3dc4ec07c4151a598866b418723ef47912f2c2d::" providerId="AD" clId="Web-{D60EB00F-F736-758C-BCD1-FB61C735DDB4}" dt="2022-03-21T15:02:07.686" v="37"/>
          <ac:spMkLst>
            <pc:docMk/>
            <pc:sldMk cId="0" sldId="262"/>
            <ac:spMk id="414" creationId="{00000000-0000-0000-0000-000000000000}"/>
          </ac:spMkLst>
        </pc:spChg>
        <pc:spChg chg="del">
          <ac:chgData name="Guest User" userId="S::urn:spo:anon#92e0bee1a612af7c1256e6aaf3dc4ec07c4151a598866b418723ef47912f2c2d::" providerId="AD" clId="Web-{D60EB00F-F736-758C-BCD1-FB61C735DDB4}" dt="2022-03-21T15:02:13.264" v="38"/>
          <ac:spMkLst>
            <pc:docMk/>
            <pc:sldMk cId="0" sldId="262"/>
            <ac:spMk id="415" creationId="{00000000-0000-0000-0000-000000000000}"/>
          </ac:spMkLst>
        </pc:spChg>
        <pc:spChg chg="del">
          <ac:chgData name="Guest User" userId="S::urn:spo:anon#92e0bee1a612af7c1256e6aaf3dc4ec07c4151a598866b418723ef47912f2c2d::" providerId="AD" clId="Web-{D60EB00F-F736-758C-BCD1-FB61C735DDB4}" dt="2022-03-21T15:01:33.607" v="21"/>
          <ac:spMkLst>
            <pc:docMk/>
            <pc:sldMk cId="0" sldId="262"/>
            <ac:spMk id="416" creationId="{00000000-0000-0000-0000-000000000000}"/>
          </ac:spMkLst>
        </pc:spChg>
        <pc:spChg chg="del">
          <ac:chgData name="Guest User" userId="S::urn:spo:anon#92e0bee1a612af7c1256e6aaf3dc4ec07c4151a598866b418723ef47912f2c2d::" providerId="AD" clId="Web-{D60EB00F-F736-758C-BCD1-FB61C735DDB4}" dt="2022-03-21T15:01:36.295" v="22"/>
          <ac:spMkLst>
            <pc:docMk/>
            <pc:sldMk cId="0" sldId="262"/>
            <ac:spMk id="417" creationId="{00000000-0000-0000-0000-000000000000}"/>
          </ac:spMkLst>
        </pc:spChg>
        <pc:spChg chg="mod">
          <ac:chgData name="Guest User" userId="S::urn:spo:anon#92e0bee1a612af7c1256e6aaf3dc4ec07c4151a598866b418723ef47912f2c2d::" providerId="AD" clId="Web-{D60EB00F-F736-758C-BCD1-FB61C735DDB4}" dt="2022-03-21T15:01:54.280" v="33" actId="1076"/>
          <ac:spMkLst>
            <pc:docMk/>
            <pc:sldMk cId="0" sldId="262"/>
            <ac:spMk id="430" creationId="{00000000-0000-0000-0000-000000000000}"/>
          </ac:spMkLst>
        </pc:spChg>
        <pc:spChg chg="mod">
          <ac:chgData name="Guest User" userId="S::urn:spo:anon#92e0bee1a612af7c1256e6aaf3dc4ec07c4151a598866b418723ef47912f2c2d::" providerId="AD" clId="Web-{D60EB00F-F736-758C-BCD1-FB61C735DDB4}" dt="2022-03-21T15:01:43.139" v="24" actId="1076"/>
          <ac:spMkLst>
            <pc:docMk/>
            <pc:sldMk cId="0" sldId="262"/>
            <ac:spMk id="431" creationId="{00000000-0000-0000-0000-000000000000}"/>
          </ac:spMkLst>
        </pc:spChg>
        <pc:spChg chg="mod">
          <ac:chgData name="Guest User" userId="S::urn:spo:anon#92e0bee1a612af7c1256e6aaf3dc4ec07c4151a598866b418723ef47912f2c2d::" providerId="AD" clId="Web-{D60EB00F-F736-758C-BCD1-FB61C735DDB4}" dt="2022-03-21T15:02:03.936" v="36" actId="1076"/>
          <ac:spMkLst>
            <pc:docMk/>
            <pc:sldMk cId="0" sldId="262"/>
            <ac:spMk id="436" creationId="{00000000-0000-0000-0000-000000000000}"/>
          </ac:spMkLst>
        </pc:spChg>
        <pc:spChg chg="mod">
          <ac:chgData name="Guest User" userId="S::urn:spo:anon#92e0bee1a612af7c1256e6aaf3dc4ec07c4151a598866b418723ef47912f2c2d::" providerId="AD" clId="Web-{D60EB00F-F736-758C-BCD1-FB61C735DDB4}" dt="2022-03-21T15:02:00.702" v="35" actId="1076"/>
          <ac:spMkLst>
            <pc:docMk/>
            <pc:sldMk cId="0" sldId="262"/>
            <ac:spMk id="441" creationId="{00000000-0000-0000-0000-000000000000}"/>
          </ac:spMkLst>
        </pc:spChg>
        <pc:spChg chg="mod">
          <ac:chgData name="Guest User" userId="S::urn:spo:anon#92e0bee1a612af7c1256e6aaf3dc4ec07c4151a598866b418723ef47912f2c2d::" providerId="AD" clId="Web-{D60EB00F-F736-758C-BCD1-FB61C735DDB4}" dt="2022-03-21T15:01:43.264" v="27" actId="1076"/>
          <ac:spMkLst>
            <pc:docMk/>
            <pc:sldMk cId="0" sldId="262"/>
            <ac:spMk id="446" creationId="{00000000-0000-0000-0000-000000000000}"/>
          </ac:spMkLst>
        </pc:spChg>
        <pc:spChg chg="mod">
          <ac:chgData name="Guest User" userId="S::urn:spo:anon#92e0bee1a612af7c1256e6aaf3dc4ec07c4151a598866b418723ef47912f2c2d::" providerId="AD" clId="Web-{D60EB00F-F736-758C-BCD1-FB61C735DDB4}" dt="2022-03-21T15:01:43.310" v="28" actId="1076"/>
          <ac:spMkLst>
            <pc:docMk/>
            <pc:sldMk cId="0" sldId="262"/>
            <ac:spMk id="447" creationId="{00000000-0000-0000-0000-000000000000}"/>
          </ac:spMkLst>
        </pc:spChg>
      </pc:sldChg>
      <pc:sldChg chg="modSp">
        <pc:chgData name="Guest User" userId="S::urn:spo:anon#92e0bee1a612af7c1256e6aaf3dc4ec07c4151a598866b418723ef47912f2c2d::" providerId="AD" clId="Web-{D60EB00F-F736-758C-BCD1-FB61C735DDB4}" dt="2022-03-21T17:08:30.552" v="102" actId="20577"/>
        <pc:sldMkLst>
          <pc:docMk/>
          <pc:sldMk cId="0" sldId="264"/>
        </pc:sldMkLst>
        <pc:spChg chg="mod">
          <ac:chgData name="Guest User" userId="S::urn:spo:anon#92e0bee1a612af7c1256e6aaf3dc4ec07c4151a598866b418723ef47912f2c2d::" providerId="AD" clId="Web-{D60EB00F-F736-758C-BCD1-FB61C735DDB4}" dt="2022-03-21T17:08:30.552" v="102" actId="20577"/>
          <ac:spMkLst>
            <pc:docMk/>
            <pc:sldMk cId="0" sldId="264"/>
            <ac:spMk id="29" creationId="{CE4534C1-122C-4584-960F-B0117C9A488A}"/>
          </ac:spMkLst>
        </pc:spChg>
      </pc:sldChg>
      <pc:sldChg chg="del">
        <pc:chgData name="Guest User" userId="S::urn:spo:anon#92e0bee1a612af7c1256e6aaf3dc4ec07c4151a598866b418723ef47912f2c2d::" providerId="AD" clId="Web-{D60EB00F-F736-758C-BCD1-FB61C735DDB4}" dt="2022-03-21T15:07:29.195" v="70"/>
        <pc:sldMkLst>
          <pc:docMk/>
          <pc:sldMk cId="0" sldId="277"/>
        </pc:sldMkLst>
      </pc:sldChg>
      <pc:sldChg chg="del">
        <pc:chgData name="Guest User" userId="S::urn:spo:anon#92e0bee1a612af7c1256e6aaf3dc4ec07c4151a598866b418723ef47912f2c2d::" providerId="AD" clId="Web-{D60EB00F-F736-758C-BCD1-FB61C735DDB4}" dt="2022-03-21T17:10:50.559" v="103"/>
        <pc:sldMkLst>
          <pc:docMk/>
          <pc:sldMk cId="160073799" sldId="337"/>
        </pc:sldMkLst>
      </pc:sldChg>
      <pc:sldChg chg="del">
        <pc:chgData name="Guest User" userId="S::urn:spo:anon#92e0bee1a612af7c1256e6aaf3dc4ec07c4151a598866b418723ef47912f2c2d::" providerId="AD" clId="Web-{D60EB00F-F736-758C-BCD1-FB61C735DDB4}" dt="2022-03-21T15:07:57.774" v="77"/>
        <pc:sldMkLst>
          <pc:docMk/>
          <pc:sldMk cId="2445507680" sldId="340"/>
        </pc:sldMkLst>
      </pc:sldChg>
      <pc:sldChg chg="addSp delSp modSp ord">
        <pc:chgData name="Guest User" userId="S::urn:spo:anon#92e0bee1a612af7c1256e6aaf3dc4ec07c4151a598866b418723ef47912f2c2d::" providerId="AD" clId="Web-{D60EB00F-F736-758C-BCD1-FB61C735DDB4}" dt="2022-03-21T15:07:48.164" v="76" actId="20577"/>
        <pc:sldMkLst>
          <pc:docMk/>
          <pc:sldMk cId="2486721525" sldId="341"/>
        </pc:sldMkLst>
        <pc:spChg chg="mod">
          <ac:chgData name="Guest User" userId="S::urn:spo:anon#92e0bee1a612af7c1256e6aaf3dc4ec07c4151a598866b418723ef47912f2c2d::" providerId="AD" clId="Web-{D60EB00F-F736-758C-BCD1-FB61C735DDB4}" dt="2022-03-21T15:03:31.829" v="53" actId="14100"/>
          <ac:spMkLst>
            <pc:docMk/>
            <pc:sldMk cId="2486721525" sldId="341"/>
            <ac:spMk id="115" creationId="{E1B09134-0372-4CAF-82C4-955305B67393}"/>
          </ac:spMkLst>
        </pc:spChg>
        <pc:spChg chg="mod">
          <ac:chgData name="Guest User" userId="S::urn:spo:anon#92e0bee1a612af7c1256e6aaf3dc4ec07c4151a598866b418723ef47912f2c2d::" providerId="AD" clId="Web-{D60EB00F-F736-758C-BCD1-FB61C735DDB4}" dt="2022-03-21T15:04:16.174" v="62" actId="1076"/>
          <ac:spMkLst>
            <pc:docMk/>
            <pc:sldMk cId="2486721525" sldId="341"/>
            <ac:spMk id="124" creationId="{3927D24C-3D9A-49E6-98C6-9726B7661B81}"/>
          </ac:spMkLst>
        </pc:spChg>
        <pc:spChg chg="mod">
          <ac:chgData name="Guest User" userId="S::urn:spo:anon#92e0bee1a612af7c1256e6aaf3dc4ec07c4151a598866b418723ef47912f2c2d::" providerId="AD" clId="Web-{D60EB00F-F736-758C-BCD1-FB61C735DDB4}" dt="2022-03-21T15:04:08.033" v="60" actId="1076"/>
          <ac:spMkLst>
            <pc:docMk/>
            <pc:sldMk cId="2486721525" sldId="341"/>
            <ac:spMk id="343" creationId="{00000000-0000-0000-0000-000000000000}"/>
          </ac:spMkLst>
        </pc:spChg>
        <pc:spChg chg="mod">
          <ac:chgData name="Guest User" userId="S::urn:spo:anon#92e0bee1a612af7c1256e6aaf3dc4ec07c4151a598866b418723ef47912f2c2d::" providerId="AD" clId="Web-{D60EB00F-F736-758C-BCD1-FB61C735DDB4}" dt="2022-03-21T15:07:48.164" v="76" actId="20577"/>
          <ac:spMkLst>
            <pc:docMk/>
            <pc:sldMk cId="2486721525" sldId="341"/>
            <ac:spMk id="344" creationId="{00000000-0000-0000-0000-000000000000}"/>
          </ac:spMkLst>
        </pc:spChg>
        <pc:spChg chg="mod">
          <ac:chgData name="Guest User" userId="S::urn:spo:anon#92e0bee1a612af7c1256e6aaf3dc4ec07c4151a598866b418723ef47912f2c2d::" providerId="AD" clId="Web-{D60EB00F-F736-758C-BCD1-FB61C735DDB4}" dt="2022-03-21T15:03:37.157" v="55" actId="14100"/>
          <ac:spMkLst>
            <pc:docMk/>
            <pc:sldMk cId="2486721525" sldId="341"/>
            <ac:spMk id="372" creationId="{00000000-0000-0000-0000-000000000000}"/>
          </ac:spMkLst>
        </pc:spChg>
        <pc:spChg chg="mod">
          <ac:chgData name="Guest User" userId="S::urn:spo:anon#92e0bee1a612af7c1256e6aaf3dc4ec07c4151a598866b418723ef47912f2c2d::" providerId="AD" clId="Web-{D60EB00F-F736-758C-BCD1-FB61C735DDB4}" dt="2022-03-21T15:03:34.485" v="54" actId="14100"/>
          <ac:spMkLst>
            <pc:docMk/>
            <pc:sldMk cId="2486721525" sldId="341"/>
            <ac:spMk id="404" creationId="{00000000-0000-0000-0000-000000000000}"/>
          </ac:spMkLst>
        </pc:spChg>
        <pc:spChg chg="mod">
          <ac:chgData name="Guest User" userId="S::urn:spo:anon#92e0bee1a612af7c1256e6aaf3dc4ec07c4151a598866b418723ef47912f2c2d::" providerId="AD" clId="Web-{D60EB00F-F736-758C-BCD1-FB61C735DDB4}" dt="2022-03-21T15:04:02.539" v="59" actId="14100"/>
          <ac:spMkLst>
            <pc:docMk/>
            <pc:sldMk cId="2486721525" sldId="341"/>
            <ac:spMk id="413" creationId="{00000000-0000-0000-0000-000000000000}"/>
          </ac:spMkLst>
        </pc:spChg>
        <pc:spChg chg="add del">
          <ac:chgData name="Guest User" userId="S::urn:spo:anon#92e0bee1a612af7c1256e6aaf3dc4ec07c4151a598866b418723ef47912f2c2d::" providerId="AD" clId="Web-{D60EB00F-F736-758C-BCD1-FB61C735DDB4}" dt="2022-03-21T15:02:48.875" v="44"/>
          <ac:spMkLst>
            <pc:docMk/>
            <pc:sldMk cId="2486721525" sldId="341"/>
            <ac:spMk id="414" creationId="{00000000-0000-0000-0000-000000000000}"/>
          </ac:spMkLst>
        </pc:spChg>
        <pc:spChg chg="del">
          <ac:chgData name="Guest User" userId="S::urn:spo:anon#92e0bee1a612af7c1256e6aaf3dc4ec07c4151a598866b418723ef47912f2c2d::" providerId="AD" clId="Web-{D60EB00F-F736-758C-BCD1-FB61C735DDB4}" dt="2022-03-21T15:03:57.361" v="58"/>
          <ac:spMkLst>
            <pc:docMk/>
            <pc:sldMk cId="2486721525" sldId="341"/>
            <ac:spMk id="415" creationId="{00000000-0000-0000-0000-000000000000}"/>
          </ac:spMkLst>
        </pc:spChg>
        <pc:spChg chg="mod">
          <ac:chgData name="Guest User" userId="S::urn:spo:anon#92e0bee1a612af7c1256e6aaf3dc4ec07c4151a598866b418723ef47912f2c2d::" providerId="AD" clId="Web-{D60EB00F-F736-758C-BCD1-FB61C735DDB4}" dt="2022-03-21T15:04:35.690" v="67" actId="20577"/>
          <ac:spMkLst>
            <pc:docMk/>
            <pc:sldMk cId="2486721525" sldId="341"/>
            <ac:spMk id="416" creationId="{00000000-0000-0000-0000-000000000000}"/>
          </ac:spMkLst>
        </pc:spChg>
        <pc:spChg chg="mod">
          <ac:chgData name="Guest User" userId="S::urn:spo:anon#92e0bee1a612af7c1256e6aaf3dc4ec07c4151a598866b418723ef47912f2c2d::" providerId="AD" clId="Web-{D60EB00F-F736-758C-BCD1-FB61C735DDB4}" dt="2022-03-21T15:04:42.112" v="68" actId="1076"/>
          <ac:spMkLst>
            <pc:docMk/>
            <pc:sldMk cId="2486721525" sldId="341"/>
            <ac:spMk id="417" creationId="{00000000-0000-0000-0000-000000000000}"/>
          </ac:spMkLst>
        </pc:spChg>
        <pc:spChg chg="mod">
          <ac:chgData name="Guest User" userId="S::urn:spo:anon#92e0bee1a612af7c1256e6aaf3dc4ec07c4151a598866b418723ef47912f2c2d::" providerId="AD" clId="Web-{D60EB00F-F736-758C-BCD1-FB61C735DDB4}" dt="2022-03-21T15:03:05.453" v="45" actId="1076"/>
          <ac:spMkLst>
            <pc:docMk/>
            <pc:sldMk cId="2486721525" sldId="341"/>
            <ac:spMk id="436" creationId="{00000000-0000-0000-0000-000000000000}"/>
          </ac:spMkLst>
        </pc:spChg>
        <pc:spChg chg="mod">
          <ac:chgData name="Guest User" userId="S::urn:spo:anon#92e0bee1a612af7c1256e6aaf3dc4ec07c4151a598866b418723ef47912f2c2d::" providerId="AD" clId="Web-{D60EB00F-F736-758C-BCD1-FB61C735DDB4}" dt="2022-03-21T15:03:05.485" v="46" actId="1076"/>
          <ac:spMkLst>
            <pc:docMk/>
            <pc:sldMk cId="2486721525" sldId="341"/>
            <ac:spMk id="441" creationId="{00000000-0000-0000-0000-000000000000}"/>
          </ac:spMkLst>
        </pc:spChg>
        <pc:spChg chg="mod">
          <ac:chgData name="Guest User" userId="S::urn:spo:anon#92e0bee1a612af7c1256e6aaf3dc4ec07c4151a598866b418723ef47912f2c2d::" providerId="AD" clId="Web-{D60EB00F-F736-758C-BCD1-FB61C735DDB4}" dt="2022-03-21T15:03:08.813" v="47" actId="1076"/>
          <ac:spMkLst>
            <pc:docMk/>
            <pc:sldMk cId="2486721525" sldId="341"/>
            <ac:spMk id="446" creationId="{00000000-0000-0000-0000-000000000000}"/>
          </ac:spMkLst>
        </pc:spChg>
        <pc:spChg chg="mod">
          <ac:chgData name="Guest User" userId="S::urn:spo:anon#92e0bee1a612af7c1256e6aaf3dc4ec07c4151a598866b418723ef47912f2c2d::" providerId="AD" clId="Web-{D60EB00F-F736-758C-BCD1-FB61C735DDB4}" dt="2022-03-21T15:03:08.844" v="48" actId="1076"/>
          <ac:spMkLst>
            <pc:docMk/>
            <pc:sldMk cId="2486721525" sldId="341"/>
            <ac:spMk id="447" creationId="{00000000-0000-0000-0000-000000000000}"/>
          </ac:spMkLst>
        </pc:spChg>
        <pc:grpChg chg="del">
          <ac:chgData name="Guest User" userId="S::urn:spo:anon#92e0bee1a612af7c1256e6aaf3dc4ec07c4151a598866b418723ef47912f2c2d::" providerId="AD" clId="Web-{D60EB00F-F736-758C-BCD1-FB61C735DDB4}" dt="2022-03-21T15:04:10.690" v="61"/>
          <ac:grpSpMkLst>
            <pc:docMk/>
            <pc:sldMk cId="2486721525" sldId="341"/>
            <ac:grpSpMk id="448" creationId="{00000000-0000-0000-0000-000000000000}"/>
          </ac:grpSpMkLst>
        </pc:grpChg>
      </pc:sldChg>
      <pc:sldChg chg="ord">
        <pc:chgData name="Guest User" userId="S::urn:spo:anon#92e0bee1a612af7c1256e6aaf3dc4ec07c4151a598866b418723ef47912f2c2d::" providerId="AD" clId="Web-{D60EB00F-F736-758C-BCD1-FB61C735DDB4}" dt="2022-03-21T15:08:32.462" v="94"/>
        <pc:sldMkLst>
          <pc:docMk/>
          <pc:sldMk cId="4114424017" sldId="342"/>
        </pc:sldMkLst>
      </pc:sldChg>
      <pc:sldChg chg="addSp modSp">
        <pc:chgData name="Guest User" userId="S::urn:spo:anon#92e0bee1a612af7c1256e6aaf3dc4ec07c4151a598866b418723ef47912f2c2d::" providerId="AD" clId="Web-{D60EB00F-F736-758C-BCD1-FB61C735DDB4}" dt="2022-03-21T15:08:24.962" v="90" actId="20577"/>
        <pc:sldMkLst>
          <pc:docMk/>
          <pc:sldMk cId="1358823486" sldId="345"/>
        </pc:sldMkLst>
        <pc:spChg chg="add mod">
          <ac:chgData name="Guest User" userId="S::urn:spo:anon#92e0bee1a612af7c1256e6aaf3dc4ec07c4151a598866b418723ef47912f2c2d::" providerId="AD" clId="Web-{D60EB00F-F736-758C-BCD1-FB61C735DDB4}" dt="2022-03-21T15:08:24.962" v="90" actId="20577"/>
          <ac:spMkLst>
            <pc:docMk/>
            <pc:sldMk cId="1358823486" sldId="345"/>
            <ac:spMk id="15" creationId="{CF9C4944-CC24-46A4-BC7C-9F086DBB5AAA}"/>
          </ac:spMkLst>
        </pc:spChg>
      </pc:sldChg>
      <pc:sldChg chg="del">
        <pc:chgData name="Guest User" userId="S::urn:spo:anon#92e0bee1a612af7c1256e6aaf3dc4ec07c4151a598866b418723ef47912f2c2d::" providerId="AD" clId="Web-{D60EB00F-F736-758C-BCD1-FB61C735DDB4}" dt="2022-03-21T15:08:37.634" v="95"/>
        <pc:sldMkLst>
          <pc:docMk/>
          <pc:sldMk cId="4007964044" sldId="346"/>
        </pc:sldMkLst>
      </pc:sldChg>
      <pc:sldChg chg="del">
        <pc:chgData name="Guest User" userId="S::urn:spo:anon#92e0bee1a612af7c1256e6aaf3dc4ec07c4151a598866b418723ef47912f2c2d::" providerId="AD" clId="Web-{D60EB00F-F736-758C-BCD1-FB61C735DDB4}" dt="2022-03-21T15:08:45.025" v="97"/>
        <pc:sldMkLst>
          <pc:docMk/>
          <pc:sldMk cId="1677424940" sldId="347"/>
        </pc:sldMkLst>
      </pc:sldChg>
      <pc:sldChg chg="modSp">
        <pc:chgData name="Guest User" userId="S::urn:spo:anon#92e0bee1a612af7c1256e6aaf3dc4ec07c4151a598866b418723ef47912f2c2d::" providerId="AD" clId="Web-{D60EB00F-F736-758C-BCD1-FB61C735DDB4}" dt="2022-03-21T17:25:22.537" v="127" actId="14100"/>
        <pc:sldMkLst>
          <pc:docMk/>
          <pc:sldMk cId="2963563579" sldId="348"/>
        </pc:sldMkLst>
        <pc:spChg chg="mod">
          <ac:chgData name="Guest User" userId="S::urn:spo:anon#92e0bee1a612af7c1256e6aaf3dc4ec07c4151a598866b418723ef47912f2c2d::" providerId="AD" clId="Web-{D60EB00F-F736-758C-BCD1-FB61C735DDB4}" dt="2022-03-21T17:25:22.537" v="127" actId="14100"/>
          <ac:spMkLst>
            <pc:docMk/>
            <pc:sldMk cId="2963563579" sldId="348"/>
            <ac:spMk id="13" creationId="{8AA9B512-3C2F-4929-A53B-DC613CCD9E7D}"/>
          </ac:spMkLst>
        </pc:spChg>
      </pc:sldChg>
      <pc:sldChg chg="del">
        <pc:chgData name="Guest User" userId="S::urn:spo:anon#92e0bee1a612af7c1256e6aaf3dc4ec07c4151a598866b418723ef47912f2c2d::" providerId="AD" clId="Web-{D60EB00F-F736-758C-BCD1-FB61C735DDB4}" dt="2022-03-21T15:08:29.697" v="92"/>
        <pc:sldMkLst>
          <pc:docMk/>
          <pc:sldMk cId="3186929354" sldId="350"/>
        </pc:sldMkLst>
      </pc:sldChg>
      <pc:sldChg chg="del">
        <pc:chgData name="Guest User" userId="S::urn:spo:anon#92e0bee1a612af7c1256e6aaf3dc4ec07c4151a598866b418723ef47912f2c2d::" providerId="AD" clId="Web-{D60EB00F-F736-758C-BCD1-FB61C735DDB4}" dt="2022-03-21T15:08:27.400" v="91"/>
        <pc:sldMkLst>
          <pc:docMk/>
          <pc:sldMk cId="4023700956" sldId="351"/>
        </pc:sldMkLst>
      </pc:sldChg>
      <pc:sldChg chg="addSp ord">
        <pc:chgData name="Guest User" userId="S::urn:spo:anon#92e0bee1a612af7c1256e6aaf3dc4ec07c4151a598866b418723ef47912f2c2d::" providerId="AD" clId="Web-{D60EB00F-F736-758C-BCD1-FB61C735DDB4}" dt="2022-03-21T15:08:41.900" v="96"/>
        <pc:sldMkLst>
          <pc:docMk/>
          <pc:sldMk cId="754587697" sldId="352"/>
        </pc:sldMkLst>
        <pc:spChg chg="add">
          <ac:chgData name="Guest User" userId="S::urn:spo:anon#92e0bee1a612af7c1256e6aaf3dc4ec07c4151a598866b418723ef47912f2c2d::" providerId="AD" clId="Web-{D60EB00F-F736-758C-BCD1-FB61C735DDB4}" dt="2022-03-21T15:08:41.900" v="96"/>
          <ac:spMkLst>
            <pc:docMk/>
            <pc:sldMk cId="754587697" sldId="352"/>
            <ac:spMk id="4" creationId="{974B56B3-82DE-42A0-B45B-EC8564BAA9EE}"/>
          </ac:spMkLst>
        </pc:spChg>
      </pc:sldChg>
    </pc:docChg>
  </pc:docChgLst>
  <pc:docChgLst>
    <pc:chgData name="Guest User" userId="S::urn:spo:anon#c437c167f923f422528aee73b5e70e5726914197d2dec7f210a84ae49e8498a7::" providerId="AD" clId="Web-{EB78B22A-652F-4F77-9280-5958030EB8DE}"/>
    <pc:docChg chg="modSld">
      <pc:chgData name="Guest User" userId="S::urn:spo:anon#c437c167f923f422528aee73b5e70e5726914197d2dec7f210a84ae49e8498a7::" providerId="AD" clId="Web-{EB78B22A-652F-4F77-9280-5958030EB8DE}" dt="2022-04-04T12:53:03.972" v="184" actId="20577"/>
      <pc:docMkLst>
        <pc:docMk/>
      </pc:docMkLst>
      <pc:sldChg chg="addSp delSp modSp">
        <pc:chgData name="Guest User" userId="S::urn:spo:anon#c437c167f923f422528aee73b5e70e5726914197d2dec7f210a84ae49e8498a7::" providerId="AD" clId="Web-{EB78B22A-652F-4F77-9280-5958030EB8DE}" dt="2022-04-04T12:53:03.972" v="184" actId="20577"/>
        <pc:sldMkLst>
          <pc:docMk/>
          <pc:sldMk cId="0" sldId="267"/>
        </pc:sldMkLst>
        <pc:spChg chg="del">
          <ac:chgData name="Guest User" userId="S::urn:spo:anon#c437c167f923f422528aee73b5e70e5726914197d2dec7f210a84ae49e8498a7::" providerId="AD" clId="Web-{EB78B22A-652F-4F77-9280-5958030EB8DE}" dt="2022-04-04T12:46:49.074" v="0"/>
          <ac:spMkLst>
            <pc:docMk/>
            <pc:sldMk cId="0" sldId="267"/>
            <ac:spMk id="15" creationId="{1E4F1338-17C9-4FF2-9D25-BE5608D8C1F6}"/>
          </ac:spMkLst>
        </pc:spChg>
        <pc:spChg chg="mod">
          <ac:chgData name="Guest User" userId="S::urn:spo:anon#c437c167f923f422528aee73b5e70e5726914197d2dec7f210a84ae49e8498a7::" providerId="AD" clId="Web-{EB78B22A-652F-4F77-9280-5958030EB8DE}" dt="2022-04-04T12:53:03.972" v="184" actId="20577"/>
          <ac:spMkLst>
            <pc:docMk/>
            <pc:sldMk cId="0" sldId="267"/>
            <ac:spMk id="16" creationId="{06D1BAE6-275A-40C2-ABFA-22E1B96BE960}"/>
          </ac:spMkLst>
        </pc:spChg>
        <pc:spChg chg="del">
          <ac:chgData name="Guest User" userId="S::urn:spo:anon#c437c167f923f422528aee73b5e70e5726914197d2dec7f210a84ae49e8498a7::" providerId="AD" clId="Web-{EB78B22A-652F-4F77-9280-5958030EB8DE}" dt="2022-04-04T12:50:31.447" v="122"/>
          <ac:spMkLst>
            <pc:docMk/>
            <pc:sldMk cId="0" sldId="267"/>
            <ac:spMk id="575" creationId="{00000000-0000-0000-0000-000000000000}"/>
          </ac:spMkLst>
        </pc:spChg>
        <pc:picChg chg="add mod">
          <ac:chgData name="Guest User" userId="S::urn:spo:anon#c437c167f923f422528aee73b5e70e5726914197d2dec7f210a84ae49e8498a7::" providerId="AD" clId="Web-{EB78B22A-652F-4F77-9280-5958030EB8DE}" dt="2022-04-04T12:51:06.121" v="129" actId="1076"/>
          <ac:picMkLst>
            <pc:docMk/>
            <pc:sldMk cId="0" sldId="267"/>
            <ac:picMk id="4" creationId="{42EA391A-1865-00F6-A513-7451C70F9F89}"/>
          </ac:picMkLst>
        </pc:picChg>
        <pc:picChg chg="add del mod">
          <ac:chgData name="Guest User" userId="S::urn:spo:anon#c437c167f923f422528aee73b5e70e5726914197d2dec7f210a84ae49e8498a7::" providerId="AD" clId="Web-{EB78B22A-652F-4F77-9280-5958030EB8DE}" dt="2022-04-04T12:52:39.283" v="154"/>
          <ac:picMkLst>
            <pc:docMk/>
            <pc:sldMk cId="0" sldId="267"/>
            <ac:picMk id="6" creationId="{3FCF0324-0ABE-18D6-DB01-6C1F2BB92020}"/>
          </ac:picMkLst>
        </pc:picChg>
      </pc:sldChg>
    </pc:docChg>
  </pc:docChgLst>
  <pc:docChgLst>
    <pc:chgData name="Guest User" userId="S::urn:spo:anon#c437c167f923f422528aee73b5e70e5726914197d2dec7f210a84ae49e8498a7::" providerId="AD" clId="Web-{29731164-AF9A-FDB7-5F52-9EBB5F3E47A3}"/>
    <pc:docChg chg="delSld modSld">
      <pc:chgData name="Guest User" userId="S::urn:spo:anon#c437c167f923f422528aee73b5e70e5726914197d2dec7f210a84ae49e8498a7::" providerId="AD" clId="Web-{29731164-AF9A-FDB7-5F52-9EBB5F3E47A3}" dt="2022-04-04T17:53:54.224" v="299" actId="20577"/>
      <pc:docMkLst>
        <pc:docMk/>
      </pc:docMkLst>
      <pc:sldChg chg="modSp">
        <pc:chgData name="Guest User" userId="S::urn:spo:anon#c437c167f923f422528aee73b5e70e5726914197d2dec7f210a84ae49e8498a7::" providerId="AD" clId="Web-{29731164-AF9A-FDB7-5F52-9EBB5F3E47A3}" dt="2022-04-04T17:21:20.195" v="136" actId="1076"/>
        <pc:sldMkLst>
          <pc:docMk/>
          <pc:sldMk cId="0" sldId="264"/>
        </pc:sldMkLst>
        <pc:spChg chg="mod">
          <ac:chgData name="Guest User" userId="S::urn:spo:anon#c437c167f923f422528aee73b5e70e5726914197d2dec7f210a84ae49e8498a7::" providerId="AD" clId="Web-{29731164-AF9A-FDB7-5F52-9EBB5F3E47A3}" dt="2022-04-04T17:20:48.913" v="135" actId="20577"/>
          <ac:spMkLst>
            <pc:docMk/>
            <pc:sldMk cId="0" sldId="264"/>
            <ac:spMk id="26" creationId="{63D5B65A-793E-4E79-B52C-834340BABD85}"/>
          </ac:spMkLst>
        </pc:spChg>
        <pc:spChg chg="mod">
          <ac:chgData name="Guest User" userId="S::urn:spo:anon#c437c167f923f422528aee73b5e70e5726914197d2dec7f210a84ae49e8498a7::" providerId="AD" clId="Web-{29731164-AF9A-FDB7-5F52-9EBB5F3E47A3}" dt="2022-04-04T17:17:45.268" v="131" actId="20577"/>
          <ac:spMkLst>
            <pc:docMk/>
            <pc:sldMk cId="0" sldId="264"/>
            <ac:spMk id="29" creationId="{CE4534C1-122C-4584-960F-B0117C9A488A}"/>
          </ac:spMkLst>
        </pc:spChg>
        <pc:spChg chg="mod">
          <ac:chgData name="Guest User" userId="S::urn:spo:anon#c437c167f923f422528aee73b5e70e5726914197d2dec7f210a84ae49e8498a7::" providerId="AD" clId="Web-{29731164-AF9A-FDB7-5F52-9EBB5F3E47A3}" dt="2022-04-04T17:21:20.195" v="136" actId="1076"/>
          <ac:spMkLst>
            <pc:docMk/>
            <pc:sldMk cId="0" sldId="264"/>
            <ac:spMk id="30" creationId="{100AEE39-1F64-4466-ACEE-5B01ED088536}"/>
          </ac:spMkLst>
        </pc:spChg>
        <pc:cxnChg chg="mod">
          <ac:chgData name="Guest User" userId="S::urn:spo:anon#c437c167f923f422528aee73b5e70e5726914197d2dec7f210a84ae49e8498a7::" providerId="AD" clId="Web-{29731164-AF9A-FDB7-5F52-9EBB5F3E47A3}" dt="2022-04-04T15:24:53.972" v="28" actId="1076"/>
          <ac:cxnSpMkLst>
            <pc:docMk/>
            <pc:sldMk cId="0" sldId="264"/>
            <ac:cxnSpMk id="84" creationId="{AC6210DF-562A-41C9-9E37-6F2588D8CA5A}"/>
          </ac:cxnSpMkLst>
        </pc:cxnChg>
      </pc:sldChg>
      <pc:sldChg chg="delSp modSp">
        <pc:chgData name="Guest User" userId="S::urn:spo:anon#c437c167f923f422528aee73b5e70e5726914197d2dec7f210a84ae49e8498a7::" providerId="AD" clId="Web-{29731164-AF9A-FDB7-5F52-9EBB5F3E47A3}" dt="2022-04-04T17:31:47.272" v="230"/>
        <pc:sldMkLst>
          <pc:docMk/>
          <pc:sldMk cId="1756389301" sldId="323"/>
        </pc:sldMkLst>
        <pc:spChg chg="del mod">
          <ac:chgData name="Guest User" userId="S::urn:spo:anon#c437c167f923f422528aee73b5e70e5726914197d2dec7f210a84ae49e8498a7::" providerId="AD" clId="Web-{29731164-AF9A-FDB7-5F52-9EBB5F3E47A3}" dt="2022-04-04T17:31:47.272" v="230"/>
          <ac:spMkLst>
            <pc:docMk/>
            <pc:sldMk cId="1756389301" sldId="323"/>
            <ac:spMk id="2" creationId="{F0989B0E-DB48-159B-A485-E409F4BFF5AD}"/>
          </ac:spMkLst>
        </pc:spChg>
        <pc:spChg chg="mod">
          <ac:chgData name="Guest User" userId="S::urn:spo:anon#c437c167f923f422528aee73b5e70e5726914197d2dec7f210a84ae49e8498a7::" providerId="AD" clId="Web-{29731164-AF9A-FDB7-5F52-9EBB5F3E47A3}" dt="2022-04-04T17:31:09.068" v="229" actId="20577"/>
          <ac:spMkLst>
            <pc:docMk/>
            <pc:sldMk cId="1756389301" sldId="323"/>
            <ac:spMk id="16" creationId="{8F0CA37A-B6EB-4A17-9D52-2FBB285889D0}"/>
          </ac:spMkLst>
        </pc:spChg>
        <pc:spChg chg="mod">
          <ac:chgData name="Guest User" userId="S::urn:spo:anon#c437c167f923f422528aee73b5e70e5726914197d2dec7f210a84ae49e8498a7::" providerId="AD" clId="Web-{29731164-AF9A-FDB7-5F52-9EBB5F3E47A3}" dt="2022-04-04T17:26:13.842" v="156" actId="20577"/>
          <ac:spMkLst>
            <pc:docMk/>
            <pc:sldMk cId="1756389301" sldId="323"/>
            <ac:spMk id="651" creationId="{00000000-0000-0000-0000-000000000000}"/>
          </ac:spMkLst>
        </pc:spChg>
      </pc:sldChg>
      <pc:sldChg chg="modSp">
        <pc:chgData name="Guest User" userId="S::urn:spo:anon#c437c167f923f422528aee73b5e70e5726914197d2dec7f210a84ae49e8498a7::" providerId="AD" clId="Web-{29731164-AF9A-FDB7-5F52-9EBB5F3E47A3}" dt="2022-04-04T16:28:54.075" v="73" actId="1076"/>
        <pc:sldMkLst>
          <pc:docMk/>
          <pc:sldMk cId="1209993513" sldId="338"/>
        </pc:sldMkLst>
        <pc:spChg chg="mod">
          <ac:chgData name="Guest User" userId="S::urn:spo:anon#c437c167f923f422528aee73b5e70e5726914197d2dec7f210a84ae49e8498a7::" providerId="AD" clId="Web-{29731164-AF9A-FDB7-5F52-9EBB5F3E47A3}" dt="2022-04-04T16:28:54.075" v="73" actId="1076"/>
          <ac:spMkLst>
            <pc:docMk/>
            <pc:sldMk cId="1209993513" sldId="338"/>
            <ac:spMk id="13" creationId="{7CB40364-C6DD-4E16-B46E-08A1E44306A9}"/>
          </ac:spMkLst>
        </pc:spChg>
      </pc:sldChg>
      <pc:sldChg chg="modSp">
        <pc:chgData name="Guest User" userId="S::urn:spo:anon#c437c167f923f422528aee73b5e70e5726914197d2dec7f210a84ae49e8498a7::" providerId="AD" clId="Web-{29731164-AF9A-FDB7-5F52-9EBB5F3E47A3}" dt="2022-04-04T17:08:58.787" v="86" actId="14100"/>
        <pc:sldMkLst>
          <pc:docMk/>
          <pc:sldMk cId="2486721525" sldId="341"/>
        </pc:sldMkLst>
        <pc:spChg chg="mod">
          <ac:chgData name="Guest User" userId="S::urn:spo:anon#c437c167f923f422528aee73b5e70e5726914197d2dec7f210a84ae49e8498a7::" providerId="AD" clId="Web-{29731164-AF9A-FDB7-5F52-9EBB5F3E47A3}" dt="2022-04-04T17:08:58.787" v="86" actId="14100"/>
          <ac:spMkLst>
            <pc:docMk/>
            <pc:sldMk cId="2486721525" sldId="341"/>
            <ac:spMk id="103" creationId="{B04D06FE-476F-DCF7-C3DF-A504A11C4BB5}"/>
          </ac:spMkLst>
        </pc:spChg>
        <pc:spChg chg="mod">
          <ac:chgData name="Guest User" userId="S::urn:spo:anon#c437c167f923f422528aee73b5e70e5726914197d2dec7f210a84ae49e8498a7::" providerId="AD" clId="Web-{29731164-AF9A-FDB7-5F52-9EBB5F3E47A3}" dt="2022-04-04T15:22:47.485" v="1" actId="1076"/>
          <ac:spMkLst>
            <pc:docMk/>
            <pc:sldMk cId="2486721525" sldId="341"/>
            <ac:spMk id="372" creationId="{00000000-0000-0000-0000-000000000000}"/>
          </ac:spMkLst>
        </pc:spChg>
        <pc:spChg chg="mod">
          <ac:chgData name="Guest User" userId="S::urn:spo:anon#c437c167f923f422528aee73b5e70e5726914197d2dec7f210a84ae49e8498a7::" providerId="AD" clId="Web-{29731164-AF9A-FDB7-5F52-9EBB5F3E47A3}" dt="2022-04-04T17:07:18.785" v="85" actId="1076"/>
          <ac:spMkLst>
            <pc:docMk/>
            <pc:sldMk cId="2486721525" sldId="341"/>
            <ac:spMk id="436" creationId="{00000000-0000-0000-0000-000000000000}"/>
          </ac:spMkLst>
        </pc:spChg>
        <pc:spChg chg="mod">
          <ac:chgData name="Guest User" userId="S::urn:spo:anon#c437c167f923f422528aee73b5e70e5726914197d2dec7f210a84ae49e8498a7::" providerId="AD" clId="Web-{29731164-AF9A-FDB7-5F52-9EBB5F3E47A3}" dt="2022-04-04T17:07:10.613" v="84" actId="1076"/>
          <ac:spMkLst>
            <pc:docMk/>
            <pc:sldMk cId="2486721525" sldId="341"/>
            <ac:spMk id="441" creationId="{00000000-0000-0000-0000-000000000000}"/>
          </ac:spMkLst>
        </pc:spChg>
        <pc:cxnChg chg="mod">
          <ac:chgData name="Guest User" userId="S::urn:spo:anon#c437c167f923f422528aee73b5e70e5726914197d2dec7f210a84ae49e8498a7::" providerId="AD" clId="Web-{29731164-AF9A-FDB7-5F52-9EBB5F3E47A3}" dt="2022-04-04T17:06:57.456" v="83" actId="1076"/>
          <ac:cxnSpMkLst>
            <pc:docMk/>
            <pc:sldMk cId="2486721525" sldId="341"/>
            <ac:cxnSpMk id="138" creationId="{72CD5195-4FCE-4FC8-B037-A7E561D0D2AA}"/>
          </ac:cxnSpMkLst>
        </pc:cxnChg>
      </pc:sldChg>
      <pc:sldChg chg="delSp modSp">
        <pc:chgData name="Guest User" userId="S::urn:spo:anon#c437c167f923f422528aee73b5e70e5726914197d2dec7f210a84ae49e8498a7::" providerId="AD" clId="Web-{29731164-AF9A-FDB7-5F52-9EBB5F3E47A3}" dt="2022-04-04T17:33:48.868" v="232"/>
        <pc:sldMkLst>
          <pc:docMk/>
          <pc:sldMk cId="4114424017" sldId="342"/>
        </pc:sldMkLst>
        <pc:spChg chg="mod">
          <ac:chgData name="Guest User" userId="S::urn:spo:anon#c437c167f923f422528aee73b5e70e5726914197d2dec7f210a84ae49e8498a7::" providerId="AD" clId="Web-{29731164-AF9A-FDB7-5F52-9EBB5F3E47A3}" dt="2022-04-04T15:29:14.009" v="34" actId="20577"/>
          <ac:spMkLst>
            <pc:docMk/>
            <pc:sldMk cId="4114424017" sldId="342"/>
            <ac:spMk id="2" creationId="{4D5921D8-9182-46DA-BF73-3160B3589AF0}"/>
          </ac:spMkLst>
        </pc:spChg>
        <pc:spChg chg="del">
          <ac:chgData name="Guest User" userId="S::urn:spo:anon#c437c167f923f422528aee73b5e70e5726914197d2dec7f210a84ae49e8498a7::" providerId="AD" clId="Web-{29731164-AF9A-FDB7-5F52-9EBB5F3E47A3}" dt="2022-04-04T17:33:48.868" v="232"/>
          <ac:spMkLst>
            <pc:docMk/>
            <pc:sldMk cId="4114424017" sldId="342"/>
            <ac:spMk id="11" creationId="{32873532-4DAB-46C2-9B1C-F38B26BCDC39}"/>
          </ac:spMkLst>
        </pc:spChg>
      </pc:sldChg>
      <pc:sldChg chg="del mod modShow">
        <pc:chgData name="Guest User" userId="S::urn:spo:anon#c437c167f923f422528aee73b5e70e5726914197d2dec7f210a84ae49e8498a7::" providerId="AD" clId="Web-{29731164-AF9A-FDB7-5F52-9EBB5F3E47A3}" dt="2022-04-04T17:32:53.539" v="231"/>
        <pc:sldMkLst>
          <pc:docMk/>
          <pc:sldMk cId="211703589" sldId="343"/>
        </pc:sldMkLst>
      </pc:sldChg>
      <pc:sldChg chg="delSp modSp">
        <pc:chgData name="Guest User" userId="S::urn:spo:anon#c437c167f923f422528aee73b5e70e5726914197d2dec7f210a84ae49e8498a7::" providerId="AD" clId="Web-{29731164-AF9A-FDB7-5F52-9EBB5F3E47A3}" dt="2022-04-04T17:34:32.947" v="236"/>
        <pc:sldMkLst>
          <pc:docMk/>
          <pc:sldMk cId="754587697" sldId="352"/>
        </pc:sldMkLst>
        <pc:spChg chg="del mod">
          <ac:chgData name="Guest User" userId="S::urn:spo:anon#c437c167f923f422528aee73b5e70e5726914197d2dec7f210a84ae49e8498a7::" providerId="AD" clId="Web-{29731164-AF9A-FDB7-5F52-9EBB5F3E47A3}" dt="2022-04-04T17:34:32.947" v="236"/>
          <ac:spMkLst>
            <pc:docMk/>
            <pc:sldMk cId="754587697" sldId="352"/>
            <ac:spMk id="8" creationId="{8F69E7F7-DBB9-40B0-9935-C325CC79771F}"/>
          </ac:spMkLst>
        </pc:spChg>
      </pc:sldChg>
      <pc:sldChg chg="delSp">
        <pc:chgData name="Guest User" userId="S::urn:spo:anon#c437c167f923f422528aee73b5e70e5726914197d2dec7f210a84ae49e8498a7::" providerId="AD" clId="Web-{29731164-AF9A-FDB7-5F52-9EBB5F3E47A3}" dt="2022-04-04T17:36:58.529" v="242"/>
        <pc:sldMkLst>
          <pc:docMk/>
          <pc:sldMk cId="2576879601" sldId="365"/>
        </pc:sldMkLst>
        <pc:spChg chg="del">
          <ac:chgData name="Guest User" userId="S::urn:spo:anon#c437c167f923f422528aee73b5e70e5726914197d2dec7f210a84ae49e8498a7::" providerId="AD" clId="Web-{29731164-AF9A-FDB7-5F52-9EBB5F3E47A3}" dt="2022-04-04T17:36:58.529" v="242"/>
          <ac:spMkLst>
            <pc:docMk/>
            <pc:sldMk cId="2576879601" sldId="365"/>
            <ac:spMk id="6" creationId="{74F8F5B6-6C79-278D-D3C6-E2F59AC9C58B}"/>
          </ac:spMkLst>
        </pc:spChg>
      </pc:sldChg>
      <pc:sldChg chg="delSp modSp">
        <pc:chgData name="Guest User" userId="S::urn:spo:anon#c437c167f923f422528aee73b5e70e5726914197d2dec7f210a84ae49e8498a7::" providerId="AD" clId="Web-{29731164-AF9A-FDB7-5F52-9EBB5F3E47A3}" dt="2022-04-04T17:35:20.167" v="241" actId="20577"/>
        <pc:sldMkLst>
          <pc:docMk/>
          <pc:sldMk cId="3514561185" sldId="374"/>
        </pc:sldMkLst>
        <pc:spChg chg="del">
          <ac:chgData name="Guest User" userId="S::urn:spo:anon#c437c167f923f422528aee73b5e70e5726914197d2dec7f210a84ae49e8498a7::" providerId="AD" clId="Web-{29731164-AF9A-FDB7-5F52-9EBB5F3E47A3}" dt="2022-04-04T15:29:53.057" v="35"/>
          <ac:spMkLst>
            <pc:docMk/>
            <pc:sldMk cId="3514561185" sldId="374"/>
            <ac:spMk id="2" creationId="{06BE3DF2-FF5A-32FB-904D-F3B56CDAAEDC}"/>
          </ac:spMkLst>
        </pc:spChg>
        <pc:spChg chg="mod">
          <ac:chgData name="Guest User" userId="S::urn:spo:anon#c437c167f923f422528aee73b5e70e5726914197d2dec7f210a84ae49e8498a7::" providerId="AD" clId="Web-{29731164-AF9A-FDB7-5F52-9EBB5F3E47A3}" dt="2022-04-04T17:35:20.167" v="241" actId="20577"/>
          <ac:spMkLst>
            <pc:docMk/>
            <pc:sldMk cId="3514561185" sldId="374"/>
            <ac:spMk id="11" creationId="{A9B97C9C-0C93-045F-4501-F39E80FF554F}"/>
          </ac:spMkLst>
        </pc:spChg>
        <pc:spChg chg="mod">
          <ac:chgData name="Guest User" userId="S::urn:spo:anon#c437c167f923f422528aee73b5e70e5726914197d2dec7f210a84ae49e8498a7::" providerId="AD" clId="Web-{29731164-AF9A-FDB7-5F52-9EBB5F3E47A3}" dt="2022-04-04T17:01:45.855" v="82" actId="20577"/>
          <ac:spMkLst>
            <pc:docMk/>
            <pc:sldMk cId="3514561185" sldId="374"/>
            <ac:spMk id="331" creationId="{00000000-0000-0000-0000-000000000000}"/>
          </ac:spMkLst>
        </pc:spChg>
      </pc:sldChg>
      <pc:sldChg chg="modSp">
        <pc:chgData name="Guest User" userId="S::urn:spo:anon#c437c167f923f422528aee73b5e70e5726914197d2dec7f210a84ae49e8498a7::" providerId="AD" clId="Web-{29731164-AF9A-FDB7-5F52-9EBB5F3E47A3}" dt="2022-04-04T17:53:54.224" v="299" actId="20577"/>
        <pc:sldMkLst>
          <pc:docMk/>
          <pc:sldMk cId="604654217" sldId="375"/>
        </pc:sldMkLst>
        <pc:spChg chg="mod">
          <ac:chgData name="Guest User" userId="S::urn:spo:anon#c437c167f923f422528aee73b5e70e5726914197d2dec7f210a84ae49e8498a7::" providerId="AD" clId="Web-{29731164-AF9A-FDB7-5F52-9EBB5F3E47A3}" dt="2022-04-04T17:53:54.224" v="299" actId="20577"/>
          <ac:spMkLst>
            <pc:docMk/>
            <pc:sldMk cId="604654217" sldId="375"/>
            <ac:spMk id="3" creationId="{346B9D98-5C00-250F-2E85-76FD3A920D22}"/>
          </ac:spMkLst>
        </pc:spChg>
        <pc:spChg chg="mod">
          <ac:chgData name="Guest User" userId="S::urn:spo:anon#c437c167f923f422528aee73b5e70e5726914197d2dec7f210a84ae49e8498a7::" providerId="AD" clId="Web-{29731164-AF9A-FDB7-5F52-9EBB5F3E47A3}" dt="2022-04-04T17:52:54.457" v="269" actId="20577"/>
          <ac:spMkLst>
            <pc:docMk/>
            <pc:sldMk cId="604654217" sldId="375"/>
            <ac:spMk id="5" creationId="{36D64229-262E-4A6E-9C18-00F422DCB439}"/>
          </ac:spMkLst>
        </pc:spChg>
      </pc:sldChg>
    </pc:docChg>
  </pc:docChgLst>
  <pc:docChgLst>
    <pc:chgData name="Guest User" userId="S::urn:spo:anon#c437c167f923f422528aee73b5e70e5726914197d2dec7f210a84ae49e8498a7::" providerId="AD" clId="Web-{6FA1A60D-B20F-069C-4B03-89CE5851F394}"/>
    <pc:docChg chg="modSld">
      <pc:chgData name="Guest User" userId="S::urn:spo:anon#c437c167f923f422528aee73b5e70e5726914197d2dec7f210a84ae49e8498a7::" providerId="AD" clId="Web-{6FA1A60D-B20F-069C-4B03-89CE5851F394}" dt="2022-04-04T15:21:36.073" v="69" actId="20577"/>
      <pc:docMkLst>
        <pc:docMk/>
      </pc:docMkLst>
      <pc:sldChg chg="addSp modSp">
        <pc:chgData name="Guest User" userId="S::urn:spo:anon#c437c167f923f422528aee73b5e70e5726914197d2dec7f210a84ae49e8498a7::" providerId="AD" clId="Web-{6FA1A60D-B20F-069C-4B03-89CE5851F394}" dt="2022-04-04T15:21:36.073" v="69" actId="20577"/>
        <pc:sldMkLst>
          <pc:docMk/>
          <pc:sldMk cId="2486721525" sldId="341"/>
        </pc:sldMkLst>
        <pc:spChg chg="mod">
          <ac:chgData name="Guest User" userId="S::urn:spo:anon#c437c167f923f422528aee73b5e70e5726914197d2dec7f210a84ae49e8498a7::" providerId="AD" clId="Web-{6FA1A60D-B20F-069C-4B03-89CE5851F394}" dt="2022-04-04T15:15:30.110" v="5" actId="20577"/>
          <ac:spMkLst>
            <pc:docMk/>
            <pc:sldMk cId="2486721525" sldId="341"/>
            <ac:spMk id="100" creationId="{523D7184-991A-457B-AD7E-9585D81AD188}"/>
          </ac:spMkLst>
        </pc:spChg>
        <pc:spChg chg="mod">
          <ac:chgData name="Guest User" userId="S::urn:spo:anon#c437c167f923f422528aee73b5e70e5726914197d2dec7f210a84ae49e8498a7::" providerId="AD" clId="Web-{6FA1A60D-B20F-069C-4B03-89CE5851F394}" dt="2022-04-04T15:20:49.306" v="50" actId="14100"/>
          <ac:spMkLst>
            <pc:docMk/>
            <pc:sldMk cId="2486721525" sldId="341"/>
            <ac:spMk id="101" creationId="{C490854A-3705-D3C2-CB0B-CA528B8E7892}"/>
          </ac:spMkLst>
        </pc:spChg>
        <pc:spChg chg="add mod">
          <ac:chgData name="Guest User" userId="S::urn:spo:anon#c437c167f923f422528aee73b5e70e5726914197d2dec7f210a84ae49e8498a7::" providerId="AD" clId="Web-{6FA1A60D-B20F-069C-4B03-89CE5851F394}" dt="2022-04-04T15:20:27.556" v="47" actId="20577"/>
          <ac:spMkLst>
            <pc:docMk/>
            <pc:sldMk cId="2486721525" sldId="341"/>
            <ac:spMk id="102" creationId="{1A6A5D54-4780-E7F1-2C5A-B261190E065C}"/>
          </ac:spMkLst>
        </pc:spChg>
        <pc:spChg chg="add mod">
          <ac:chgData name="Guest User" userId="S::urn:spo:anon#c437c167f923f422528aee73b5e70e5726914197d2dec7f210a84ae49e8498a7::" providerId="AD" clId="Web-{6FA1A60D-B20F-069C-4B03-89CE5851F394}" dt="2022-04-04T15:21:36.073" v="69" actId="20577"/>
          <ac:spMkLst>
            <pc:docMk/>
            <pc:sldMk cId="2486721525" sldId="341"/>
            <ac:spMk id="103" creationId="{B04D06FE-476F-DCF7-C3DF-A504A11C4BB5}"/>
          </ac:spMkLst>
        </pc:spChg>
      </pc:sldChg>
      <pc:sldChg chg="delSp">
        <pc:chgData name="Guest User" userId="S::urn:spo:anon#c437c167f923f422528aee73b5e70e5726914197d2dec7f210a84ae49e8498a7::" providerId="AD" clId="Web-{6FA1A60D-B20F-069C-4B03-89CE5851F394}" dt="2022-04-04T15:15:12.282" v="0"/>
        <pc:sldMkLst>
          <pc:docMk/>
          <pc:sldMk cId="1695560817" sldId="366"/>
        </pc:sldMkLst>
        <pc:spChg chg="del">
          <ac:chgData name="Guest User" userId="S::urn:spo:anon#c437c167f923f422528aee73b5e70e5726914197d2dec7f210a84ae49e8498a7::" providerId="AD" clId="Web-{6FA1A60D-B20F-069C-4B03-89CE5851F394}" dt="2022-04-04T15:15:12.282" v="0"/>
          <ac:spMkLst>
            <pc:docMk/>
            <pc:sldMk cId="1695560817" sldId="366"/>
            <ac:spMk id="3" creationId="{F1048966-CD25-3754-6E9D-DB4371B1B8BB}"/>
          </ac:spMkLst>
        </pc:spChg>
      </pc:sldChg>
    </pc:docChg>
  </pc:docChgLst>
  <pc:docChgLst>
    <pc:chgData name="Guest User" userId="S::urn:spo:anon#c437c167f923f422528aee73b5e70e5726914197d2dec7f210a84ae49e8498a7::" providerId="AD" clId="Web-{C85B2C23-02EC-1BA5-CEBD-8C6435B2177C}"/>
    <pc:docChg chg="modSld">
      <pc:chgData name="Guest User" userId="S::urn:spo:anon#c437c167f923f422528aee73b5e70e5726914197d2dec7f210a84ae49e8498a7::" providerId="AD" clId="Web-{C85B2C23-02EC-1BA5-CEBD-8C6435B2177C}" dt="2022-04-04T20:39:38.181" v="72"/>
      <pc:docMkLst>
        <pc:docMk/>
      </pc:docMkLst>
      <pc:sldChg chg="addSp delSp modSp">
        <pc:chgData name="Guest User" userId="S::urn:spo:anon#c437c167f923f422528aee73b5e70e5726914197d2dec7f210a84ae49e8498a7::" providerId="AD" clId="Web-{C85B2C23-02EC-1BA5-CEBD-8C6435B2177C}" dt="2022-04-04T20:36:25.942" v="60"/>
        <pc:sldMkLst>
          <pc:docMk/>
          <pc:sldMk cId="0" sldId="257"/>
        </pc:sldMkLst>
        <pc:grpChg chg="add del mod">
          <ac:chgData name="Guest User" userId="S::urn:spo:anon#c437c167f923f422528aee73b5e70e5726914197d2dec7f210a84ae49e8498a7::" providerId="AD" clId="Web-{C85B2C23-02EC-1BA5-CEBD-8C6435B2177C}" dt="2022-04-04T20:36:25.942" v="60"/>
          <ac:grpSpMkLst>
            <pc:docMk/>
            <pc:sldMk cId="0" sldId="257"/>
            <ac:grpSpMk id="41" creationId="{C9ABEC48-0217-0553-15D1-B14AC6C53581}"/>
          </ac:grpSpMkLst>
        </pc:grpChg>
      </pc:sldChg>
      <pc:sldChg chg="delSp">
        <pc:chgData name="Guest User" userId="S::urn:spo:anon#c437c167f923f422528aee73b5e70e5726914197d2dec7f210a84ae49e8498a7::" providerId="AD" clId="Web-{C85B2C23-02EC-1BA5-CEBD-8C6435B2177C}" dt="2022-04-04T19:54:57.365" v="25"/>
        <pc:sldMkLst>
          <pc:docMk/>
          <pc:sldMk cId="0" sldId="259"/>
        </pc:sldMkLst>
        <pc:spChg chg="del">
          <ac:chgData name="Guest User" userId="S::urn:spo:anon#c437c167f923f422528aee73b5e70e5726914197d2dec7f210a84ae49e8498a7::" providerId="AD" clId="Web-{C85B2C23-02EC-1BA5-CEBD-8C6435B2177C}" dt="2022-04-04T19:54:57.365" v="25"/>
          <ac:spMkLst>
            <pc:docMk/>
            <pc:sldMk cId="0" sldId="259"/>
            <ac:spMk id="2" creationId="{332FAA88-0C1A-23EC-244B-BB586AB16ADA}"/>
          </ac:spMkLst>
        </pc:spChg>
      </pc:sldChg>
      <pc:sldChg chg="addSp delSp modSp">
        <pc:chgData name="Guest User" userId="S::urn:spo:anon#c437c167f923f422528aee73b5e70e5726914197d2dec7f210a84ae49e8498a7::" providerId="AD" clId="Web-{C85B2C23-02EC-1BA5-CEBD-8C6435B2177C}" dt="2022-04-04T20:39:38.181" v="72"/>
        <pc:sldMkLst>
          <pc:docMk/>
          <pc:sldMk cId="0" sldId="264"/>
        </pc:sldMkLst>
        <pc:spChg chg="add del">
          <ac:chgData name="Guest User" userId="S::urn:spo:anon#c437c167f923f422528aee73b5e70e5726914197d2dec7f210a84ae49e8498a7::" providerId="AD" clId="Web-{C85B2C23-02EC-1BA5-CEBD-8C6435B2177C}" dt="2022-04-04T20:39:38.181" v="72"/>
          <ac:spMkLst>
            <pc:docMk/>
            <pc:sldMk cId="0" sldId="264"/>
            <ac:spMk id="2" creationId="{3E1B1E44-BB53-2A5A-4E4F-F11B3C57DCBD}"/>
          </ac:spMkLst>
        </pc:spChg>
        <pc:spChg chg="mod">
          <ac:chgData name="Guest User" userId="S::urn:spo:anon#c437c167f923f422528aee73b5e70e5726914197d2dec7f210a84ae49e8498a7::" providerId="AD" clId="Web-{C85B2C23-02EC-1BA5-CEBD-8C6435B2177C}" dt="2022-04-04T20:39:34.494" v="71" actId="20577"/>
          <ac:spMkLst>
            <pc:docMk/>
            <pc:sldMk cId="0" sldId="264"/>
            <ac:spMk id="29" creationId="{CE4534C1-122C-4584-960F-B0117C9A488A}"/>
          </ac:spMkLst>
        </pc:spChg>
      </pc:sldChg>
      <pc:sldChg chg="delSp modSp">
        <pc:chgData name="Guest User" userId="S::urn:spo:anon#c437c167f923f422528aee73b5e70e5726914197d2dec7f210a84ae49e8498a7::" providerId="AD" clId="Web-{C85B2C23-02EC-1BA5-CEBD-8C6435B2177C}" dt="2022-04-04T20:35:31.269" v="57" actId="1076"/>
        <pc:sldMkLst>
          <pc:docMk/>
          <pc:sldMk cId="2486721525" sldId="341"/>
        </pc:sldMkLst>
        <pc:spChg chg="del">
          <ac:chgData name="Guest User" userId="S::urn:spo:anon#c437c167f923f422528aee73b5e70e5726914197d2dec7f210a84ae49e8498a7::" providerId="AD" clId="Web-{C85B2C23-02EC-1BA5-CEBD-8C6435B2177C}" dt="2022-04-04T19:54:51.162" v="24"/>
          <ac:spMkLst>
            <pc:docMk/>
            <pc:sldMk cId="2486721525" sldId="341"/>
            <ac:spMk id="100" creationId="{523D7184-991A-457B-AD7E-9585D81AD188}"/>
          </ac:spMkLst>
        </pc:spChg>
        <pc:spChg chg="mod">
          <ac:chgData name="Guest User" userId="S::urn:spo:anon#c437c167f923f422528aee73b5e70e5726914197d2dec7f210a84ae49e8498a7::" providerId="AD" clId="Web-{C85B2C23-02EC-1BA5-CEBD-8C6435B2177C}" dt="2022-04-04T20:33:56.704" v="42" actId="20577"/>
          <ac:spMkLst>
            <pc:docMk/>
            <pc:sldMk cId="2486721525" sldId="341"/>
            <ac:spMk id="102" creationId="{1A6A5D54-4780-E7F1-2C5A-B261190E065C}"/>
          </ac:spMkLst>
        </pc:spChg>
        <pc:spChg chg="mod">
          <ac:chgData name="Guest User" userId="S::urn:spo:anon#c437c167f923f422528aee73b5e70e5726914197d2dec7f210a84ae49e8498a7::" providerId="AD" clId="Web-{C85B2C23-02EC-1BA5-CEBD-8C6435B2177C}" dt="2022-04-04T20:34:29.798" v="50" actId="20577"/>
          <ac:spMkLst>
            <pc:docMk/>
            <pc:sldMk cId="2486721525" sldId="341"/>
            <ac:spMk id="103" creationId="{B04D06FE-476F-DCF7-C3DF-A504A11C4BB5}"/>
          </ac:spMkLst>
        </pc:spChg>
        <pc:spChg chg="mod">
          <ac:chgData name="Guest User" userId="S::urn:spo:anon#c437c167f923f422528aee73b5e70e5726914197d2dec7f210a84ae49e8498a7::" providerId="AD" clId="Web-{C85B2C23-02EC-1BA5-CEBD-8C6435B2177C}" dt="2022-04-04T20:35:31.269" v="57" actId="1076"/>
          <ac:spMkLst>
            <pc:docMk/>
            <pc:sldMk cId="2486721525" sldId="341"/>
            <ac:spMk id="116" creationId="{473E579E-3692-41BD-8D3D-A49F032BB7D1}"/>
          </ac:spMkLst>
        </pc:spChg>
        <pc:spChg chg="mod">
          <ac:chgData name="Guest User" userId="S::urn:spo:anon#c437c167f923f422528aee73b5e70e5726914197d2dec7f210a84ae49e8498a7::" providerId="AD" clId="Web-{C85B2C23-02EC-1BA5-CEBD-8C6435B2177C}" dt="2022-04-04T20:34:51.299" v="55" actId="20577"/>
          <ac:spMkLst>
            <pc:docMk/>
            <pc:sldMk cId="2486721525" sldId="341"/>
            <ac:spMk id="372" creationId="{00000000-0000-0000-0000-000000000000}"/>
          </ac:spMkLst>
        </pc:spChg>
        <pc:spChg chg="mod">
          <ac:chgData name="Guest User" userId="S::urn:spo:anon#c437c167f923f422528aee73b5e70e5726914197d2dec7f210a84ae49e8498a7::" providerId="AD" clId="Web-{C85B2C23-02EC-1BA5-CEBD-8C6435B2177C}" dt="2022-04-04T20:35:24.159" v="56" actId="1076"/>
          <ac:spMkLst>
            <pc:docMk/>
            <pc:sldMk cId="2486721525" sldId="341"/>
            <ac:spMk id="401" creationId="{00000000-0000-0000-0000-000000000000}"/>
          </ac:spMkLst>
        </pc:spChg>
        <pc:spChg chg="mod">
          <ac:chgData name="Guest User" userId="S::urn:spo:anon#c437c167f923f422528aee73b5e70e5726914197d2dec7f210a84ae49e8498a7::" providerId="AD" clId="Web-{C85B2C23-02EC-1BA5-CEBD-8C6435B2177C}" dt="2022-04-04T20:34:13.563" v="47" actId="20577"/>
          <ac:spMkLst>
            <pc:docMk/>
            <pc:sldMk cId="2486721525" sldId="341"/>
            <ac:spMk id="413" creationId="{00000000-0000-0000-0000-000000000000}"/>
          </ac:spMkLst>
        </pc:spChg>
      </pc:sldChg>
      <pc:sldChg chg="delSp modSp">
        <pc:chgData name="Guest User" userId="S::urn:spo:anon#c437c167f923f422528aee73b5e70e5726914197d2dec7f210a84ae49e8498a7::" providerId="AD" clId="Web-{C85B2C23-02EC-1BA5-CEBD-8C6435B2177C}" dt="2022-04-04T19:33:35.007" v="21"/>
        <pc:sldMkLst>
          <pc:docMk/>
          <pc:sldMk cId="1695560817" sldId="366"/>
        </pc:sldMkLst>
        <pc:spChg chg="del mod">
          <ac:chgData name="Guest User" userId="S::urn:spo:anon#c437c167f923f422528aee73b5e70e5726914197d2dec7f210a84ae49e8498a7::" providerId="AD" clId="Web-{C85B2C23-02EC-1BA5-CEBD-8C6435B2177C}" dt="2022-04-04T19:33:35.007" v="21"/>
          <ac:spMkLst>
            <pc:docMk/>
            <pc:sldMk cId="1695560817" sldId="366"/>
            <ac:spMk id="8" creationId="{6E60928D-F747-4E02-5F0E-A23E862AB85C}"/>
          </ac:spMkLst>
        </pc:spChg>
        <pc:spChg chg="del">
          <ac:chgData name="Guest User" userId="S::urn:spo:anon#c437c167f923f422528aee73b5e70e5726914197d2dec7f210a84ae49e8498a7::" providerId="AD" clId="Web-{C85B2C23-02EC-1BA5-CEBD-8C6435B2177C}" dt="2022-04-04T19:33:18.319" v="19"/>
          <ac:spMkLst>
            <pc:docMk/>
            <pc:sldMk cId="1695560817" sldId="366"/>
            <ac:spMk id="40" creationId="{611EBE9E-2A7C-8DB0-CAE5-712C95EA2AD3}"/>
          </ac:spMkLst>
        </pc:spChg>
        <pc:spChg chg="del">
          <ac:chgData name="Guest User" userId="S::urn:spo:anon#c437c167f923f422528aee73b5e70e5726914197d2dec7f210a84ae49e8498a7::" providerId="AD" clId="Web-{C85B2C23-02EC-1BA5-CEBD-8C6435B2177C}" dt="2022-04-04T19:33:21.069" v="20"/>
          <ac:spMkLst>
            <pc:docMk/>
            <pc:sldMk cId="1695560817" sldId="366"/>
            <ac:spMk id="42" creationId="{1B08A347-B138-5843-98E6-3B81B9906B8E}"/>
          </ac:spMkLst>
        </pc:spChg>
      </pc:sldChg>
      <pc:sldChg chg="delSp">
        <pc:chgData name="Guest User" userId="S::urn:spo:anon#c437c167f923f422528aee73b5e70e5726914197d2dec7f210a84ae49e8498a7::" providerId="AD" clId="Web-{C85B2C23-02EC-1BA5-CEBD-8C6435B2177C}" dt="2022-04-04T19:33:51.273" v="23"/>
        <pc:sldMkLst>
          <pc:docMk/>
          <pc:sldMk cId="3514561185" sldId="374"/>
        </pc:sldMkLst>
        <pc:spChg chg="del">
          <ac:chgData name="Guest User" userId="S::urn:spo:anon#c437c167f923f422528aee73b5e70e5726914197d2dec7f210a84ae49e8498a7::" providerId="AD" clId="Web-{C85B2C23-02EC-1BA5-CEBD-8C6435B2177C}" dt="2022-04-04T19:33:48.710" v="22"/>
          <ac:spMkLst>
            <pc:docMk/>
            <pc:sldMk cId="3514561185" sldId="374"/>
            <ac:spMk id="2" creationId="{71601D73-6075-4594-3641-75266AC8AC50}"/>
          </ac:spMkLst>
        </pc:spChg>
        <pc:spChg chg="del">
          <ac:chgData name="Guest User" userId="S::urn:spo:anon#c437c167f923f422528aee73b5e70e5726914197d2dec7f210a84ae49e8498a7::" providerId="AD" clId="Web-{C85B2C23-02EC-1BA5-CEBD-8C6435B2177C}" dt="2022-04-04T19:33:51.273" v="23"/>
          <ac:spMkLst>
            <pc:docMk/>
            <pc:sldMk cId="3514561185" sldId="374"/>
            <ac:spMk id="11" creationId="{A9B97C9C-0C93-045F-4501-F39E80FF554F}"/>
          </ac:spMkLst>
        </pc:spChg>
      </pc:sldChg>
      <pc:sldChg chg="modSp">
        <pc:chgData name="Guest User" userId="S::urn:spo:anon#c437c167f923f422528aee73b5e70e5726914197d2dec7f210a84ae49e8498a7::" providerId="AD" clId="Web-{C85B2C23-02EC-1BA5-CEBD-8C6435B2177C}" dt="2022-04-04T19:57:48.885" v="26" actId="1076"/>
        <pc:sldMkLst>
          <pc:docMk/>
          <pc:sldMk cId="604654217" sldId="375"/>
        </pc:sldMkLst>
        <pc:spChg chg="mod">
          <ac:chgData name="Guest User" userId="S::urn:spo:anon#c437c167f923f422528aee73b5e70e5726914197d2dec7f210a84ae49e8498a7::" providerId="AD" clId="Web-{C85B2C23-02EC-1BA5-CEBD-8C6435B2177C}" dt="2022-04-04T18:27:59.046" v="17" actId="20577"/>
          <ac:spMkLst>
            <pc:docMk/>
            <pc:sldMk cId="604654217" sldId="375"/>
            <ac:spMk id="3" creationId="{346B9D98-5C00-250F-2E85-76FD3A920D22}"/>
          </ac:spMkLst>
        </pc:spChg>
        <pc:cxnChg chg="mod">
          <ac:chgData name="Guest User" userId="S::urn:spo:anon#c437c167f923f422528aee73b5e70e5726914197d2dec7f210a84ae49e8498a7::" providerId="AD" clId="Web-{C85B2C23-02EC-1BA5-CEBD-8C6435B2177C}" dt="2022-04-04T19:57:48.885" v="26" actId="1076"/>
          <ac:cxnSpMkLst>
            <pc:docMk/>
            <pc:sldMk cId="604654217" sldId="375"/>
            <ac:cxnSpMk id="11" creationId="{80DA06C6-E09C-08BC-D6FB-BC20D8957044}"/>
          </ac:cxnSpMkLst>
        </pc:cxn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037840" cy="466434"/>
          </a:xfrm>
          <a:prstGeom prst="rect">
            <a:avLst/>
          </a:prstGeom>
          <a:noFill/>
          <a:ln>
            <a:noFill/>
          </a:ln>
        </p:spPr>
        <p:txBody>
          <a:bodyPr spcFirstLastPara="1" wrap="square" lIns="93162" tIns="46568" rIns="93162" bIns="46568"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970938" y="0"/>
            <a:ext cx="3037840" cy="466434"/>
          </a:xfrm>
          <a:prstGeom prst="rect">
            <a:avLst/>
          </a:prstGeom>
          <a:noFill/>
          <a:ln>
            <a:noFill/>
          </a:ln>
        </p:spPr>
        <p:txBody>
          <a:bodyPr spcFirstLastPara="1" wrap="square" lIns="93162" tIns="46568" rIns="93162" bIns="46568"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829967"/>
            <a:ext cx="3037840" cy="466433"/>
          </a:xfrm>
          <a:prstGeom prst="rect">
            <a:avLst/>
          </a:prstGeom>
          <a:noFill/>
          <a:ln>
            <a:noFill/>
          </a:ln>
        </p:spPr>
        <p:txBody>
          <a:bodyPr spcFirstLastPara="1" wrap="square" lIns="93162" tIns="46568" rIns="93162" bIns="46568"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970938" y="8829967"/>
            <a:ext cx="3037840" cy="466433"/>
          </a:xfrm>
          <a:prstGeom prst="rect">
            <a:avLst/>
          </a:prstGeom>
          <a:noFill/>
          <a:ln>
            <a:noFill/>
          </a:ln>
        </p:spPr>
        <p:txBody>
          <a:bodyPr spcFirstLastPara="1" wrap="square" lIns="93162" tIns="46568" rIns="93162" bIns="46568" anchor="b" anchorCtr="0">
            <a:noAutofit/>
          </a:bodyPr>
          <a:lstStyle/>
          <a:p>
            <a:pPr algn="r"/>
            <a:fld id="{00000000-1234-1234-1234-123412341234}" type="slidenum">
              <a:rPr lang="en-US" sz="1200" smtClean="0">
                <a:solidFill>
                  <a:schemeClr val="dk1"/>
                </a:solidFill>
                <a:latin typeface="Calibri"/>
                <a:ea typeface="Calibri"/>
                <a:cs typeface="Calibri"/>
                <a:sym typeface="Calibri"/>
              </a:rPr>
              <a:pPr algn="r"/>
              <a:t>‹#›</a:t>
            </a:fld>
            <a:endParaRPr lang="en-US" sz="120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182" name="Google Shape;182;p1: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97" name="Google Shape;597;p1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8460973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2"/>
        <p:cNvGrpSpPr/>
        <p:nvPr/>
      </p:nvGrpSpPr>
      <p:grpSpPr>
        <a:xfrm>
          <a:off x="0" y="0"/>
          <a:ext cx="0" cy="0"/>
          <a:chOff x="0" y="0"/>
          <a:chExt cx="0" cy="0"/>
        </a:xfrm>
      </p:grpSpPr>
      <p:sp>
        <p:nvSpPr>
          <p:cNvPr id="643" name="Google Shape;643;p17: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44" name="Google Shape;644;p17: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45" name="Google Shape;645;p17:notes"/>
          <p:cNvSpPr txBox="1">
            <a:spLocks noGrp="1"/>
          </p:cNvSpPr>
          <p:nvPr>
            <p:ph type="sldNum" idx="12"/>
          </p:nvPr>
        </p:nvSpPr>
        <p:spPr>
          <a:xfrm>
            <a:off x="3970938" y="8829967"/>
            <a:ext cx="3037840" cy="466433"/>
          </a:xfrm>
          <a:prstGeom prst="rect">
            <a:avLst/>
          </a:prstGeom>
          <a:noFill/>
          <a:ln>
            <a:noFill/>
          </a:ln>
        </p:spPr>
        <p:txBody>
          <a:bodyPr spcFirstLastPara="1" wrap="square" lIns="93162" tIns="46568" rIns="93162" bIns="46568" anchor="b" anchorCtr="0">
            <a:noAutofit/>
          </a:bodyPr>
          <a:lstStyle/>
          <a:p>
            <a:pPr algn="r">
              <a:buSzPts val="1200"/>
            </a:pPr>
            <a:fld id="{00000000-1234-1234-1234-123412341234}" type="slidenum">
              <a:rPr lang="en-US" sz="1200">
                <a:latin typeface="Calibri"/>
                <a:ea typeface="Calibri"/>
                <a:cs typeface="Calibri"/>
                <a:sym typeface="Calibri"/>
              </a:rPr>
              <a:pPr algn="r">
                <a:buSzPts val="1200"/>
              </a:pPr>
              <a:t>11</a:t>
            </a:fld>
            <a:endParaRPr sz="1200">
              <a:latin typeface="Calibri"/>
              <a:ea typeface="Calibri"/>
              <a:cs typeface="Calibri"/>
              <a:sym typeface="Calibri"/>
            </a:endParaRPr>
          </a:p>
        </p:txBody>
      </p:sp>
    </p:spTree>
    <p:extLst>
      <p:ext uri="{BB962C8B-B14F-4D97-AF65-F5344CB8AC3E}">
        <p14:creationId xmlns:p14="http://schemas.microsoft.com/office/powerpoint/2010/main" val="36583737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8"/>
        <p:cNvGrpSpPr/>
        <p:nvPr/>
      </p:nvGrpSpPr>
      <p:grpSpPr>
        <a:xfrm>
          <a:off x="0" y="0"/>
          <a:ext cx="0" cy="0"/>
          <a:chOff x="0" y="0"/>
          <a:chExt cx="0" cy="0"/>
        </a:xfrm>
      </p:grpSpPr>
      <p:sp>
        <p:nvSpPr>
          <p:cNvPr id="569" name="Google Shape;569;p12: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70" name="Google Shape;570;p12: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8"/>
        <p:cNvGrpSpPr/>
        <p:nvPr/>
      </p:nvGrpSpPr>
      <p:grpSpPr>
        <a:xfrm>
          <a:off x="0" y="0"/>
          <a:ext cx="0" cy="0"/>
          <a:chOff x="0" y="0"/>
          <a:chExt cx="0" cy="0"/>
        </a:xfrm>
      </p:grpSpPr>
      <p:sp>
        <p:nvSpPr>
          <p:cNvPr id="569" name="Google Shape;569;p12: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70" name="Google Shape;570;p12: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239494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6"/>
        <p:cNvGrpSpPr/>
        <p:nvPr/>
      </p:nvGrpSpPr>
      <p:grpSpPr>
        <a:xfrm>
          <a:off x="0" y="0"/>
          <a:ext cx="0" cy="0"/>
          <a:chOff x="0" y="0"/>
          <a:chExt cx="0" cy="0"/>
        </a:xfrm>
      </p:grpSpPr>
      <p:sp>
        <p:nvSpPr>
          <p:cNvPr id="457" name="Google Shape;457;p8: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458" name="Google Shape;458;p8: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7"/>
        <p:cNvGrpSpPr/>
        <p:nvPr/>
      </p:nvGrpSpPr>
      <p:grpSpPr>
        <a:xfrm>
          <a:off x="0" y="0"/>
          <a:ext cx="0" cy="0"/>
          <a:chOff x="0" y="0"/>
          <a:chExt cx="0" cy="0"/>
        </a:xfrm>
      </p:grpSpPr>
      <p:sp>
        <p:nvSpPr>
          <p:cNvPr id="328" name="Google Shape;328;p6: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329" name="Google Shape;329;p6: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350337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6"/>
        <p:cNvGrpSpPr/>
        <p:nvPr/>
      </p:nvGrpSpPr>
      <p:grpSpPr>
        <a:xfrm>
          <a:off x="0" y="0"/>
          <a:ext cx="0" cy="0"/>
          <a:chOff x="0" y="0"/>
          <a:chExt cx="0" cy="0"/>
        </a:xfrm>
      </p:grpSpPr>
      <p:sp>
        <p:nvSpPr>
          <p:cNvPr id="457" name="Google Shape;457;p8: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458" name="Google Shape;458;p8: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845972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8"/>
        <p:cNvGrpSpPr/>
        <p:nvPr/>
      </p:nvGrpSpPr>
      <p:grpSpPr>
        <a:xfrm>
          <a:off x="0" y="0"/>
          <a:ext cx="0" cy="0"/>
          <a:chOff x="0" y="0"/>
          <a:chExt cx="0" cy="0"/>
        </a:xfrm>
      </p:grpSpPr>
      <p:sp>
        <p:nvSpPr>
          <p:cNvPr id="689" name="Google Shape;689;p20: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690" name="Google Shape;690;p20: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8"/>
        <p:cNvGrpSpPr/>
        <p:nvPr/>
      </p:nvGrpSpPr>
      <p:grpSpPr>
        <a:xfrm>
          <a:off x="0" y="0"/>
          <a:ext cx="0" cy="0"/>
          <a:chOff x="0" y="0"/>
          <a:chExt cx="0" cy="0"/>
        </a:xfrm>
      </p:grpSpPr>
      <p:sp>
        <p:nvSpPr>
          <p:cNvPr id="689" name="Google Shape;689;p20: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690" name="Google Shape;690;p20: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166183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8"/>
        <p:cNvGrpSpPr/>
        <p:nvPr/>
      </p:nvGrpSpPr>
      <p:grpSpPr>
        <a:xfrm>
          <a:off x="0" y="0"/>
          <a:ext cx="0" cy="0"/>
          <a:chOff x="0" y="0"/>
          <a:chExt cx="0" cy="0"/>
        </a:xfrm>
      </p:grpSpPr>
      <p:sp>
        <p:nvSpPr>
          <p:cNvPr id="689" name="Google Shape;689;p20: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690" name="Google Shape;690;p20: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87634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p2: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189" name="Google Shape;189;p2: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8"/>
        <p:cNvGrpSpPr/>
        <p:nvPr/>
      </p:nvGrpSpPr>
      <p:grpSpPr>
        <a:xfrm>
          <a:off x="0" y="0"/>
          <a:ext cx="0" cy="0"/>
          <a:chOff x="0" y="0"/>
          <a:chExt cx="0" cy="0"/>
        </a:xfrm>
      </p:grpSpPr>
      <p:sp>
        <p:nvSpPr>
          <p:cNvPr id="689" name="Google Shape;689;p20: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690" name="Google Shape;690;p20: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652349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0"/>
        <p:cNvGrpSpPr/>
        <p:nvPr/>
      </p:nvGrpSpPr>
      <p:grpSpPr>
        <a:xfrm>
          <a:off x="0" y="0"/>
          <a:ext cx="0" cy="0"/>
          <a:chOff x="0" y="0"/>
          <a:chExt cx="0" cy="0"/>
        </a:xfrm>
      </p:grpSpPr>
      <p:sp>
        <p:nvSpPr>
          <p:cNvPr id="701" name="Google Shape;701;p21: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702" name="Google Shape;702;p21: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3"/>
        <p:cNvGrpSpPr/>
        <p:nvPr/>
      </p:nvGrpSpPr>
      <p:grpSpPr>
        <a:xfrm>
          <a:off x="0" y="0"/>
          <a:ext cx="0" cy="0"/>
          <a:chOff x="0" y="0"/>
          <a:chExt cx="0" cy="0"/>
        </a:xfrm>
      </p:grpSpPr>
      <p:sp>
        <p:nvSpPr>
          <p:cNvPr id="464" name="Google Shape;464;p9: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465" name="Google Shape;465;p9: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037197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Google Shape;340;p7: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341" name="Google Shape;341;p7: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044629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7"/>
        <p:cNvGrpSpPr/>
        <p:nvPr/>
      </p:nvGrpSpPr>
      <p:grpSpPr>
        <a:xfrm>
          <a:off x="0" y="0"/>
          <a:ext cx="0" cy="0"/>
          <a:chOff x="0" y="0"/>
          <a:chExt cx="0" cy="0"/>
        </a:xfrm>
      </p:grpSpPr>
      <p:sp>
        <p:nvSpPr>
          <p:cNvPr id="848" name="Google Shape;848;p24: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849" name="Google Shape;849;p2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4"/>
        <p:cNvGrpSpPr/>
        <p:nvPr/>
      </p:nvGrpSpPr>
      <p:grpSpPr>
        <a:xfrm>
          <a:off x="0" y="0"/>
          <a:ext cx="0" cy="0"/>
          <a:chOff x="0" y="0"/>
          <a:chExt cx="0" cy="0"/>
        </a:xfrm>
      </p:grpSpPr>
      <p:sp>
        <p:nvSpPr>
          <p:cNvPr id="855" name="Google Shape;855;p25: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856" name="Google Shape;856;p2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2"/>
        <p:cNvGrpSpPr/>
        <p:nvPr/>
      </p:nvGrpSpPr>
      <p:grpSpPr>
        <a:xfrm>
          <a:off x="0" y="0"/>
          <a:ext cx="0" cy="0"/>
          <a:chOff x="0" y="0"/>
          <a:chExt cx="0" cy="0"/>
        </a:xfrm>
      </p:grpSpPr>
      <p:sp>
        <p:nvSpPr>
          <p:cNvPr id="923" name="Google Shape;923;p28: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924" name="Google Shape;924;p28: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1"/>
        <p:cNvGrpSpPr/>
        <p:nvPr/>
      </p:nvGrpSpPr>
      <p:grpSpPr>
        <a:xfrm>
          <a:off x="0" y="0"/>
          <a:ext cx="0" cy="0"/>
          <a:chOff x="0" y="0"/>
          <a:chExt cx="0" cy="0"/>
        </a:xfrm>
      </p:grpSpPr>
      <p:sp>
        <p:nvSpPr>
          <p:cNvPr id="232" name="Google Shape;232;p3: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3" name="Google Shape;233;p3: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endParaRPr/>
          </a:p>
        </p:txBody>
      </p:sp>
      <p:sp>
        <p:nvSpPr>
          <p:cNvPr id="234" name="Google Shape;234;p3:notes"/>
          <p:cNvSpPr txBox="1">
            <a:spLocks noGrp="1"/>
          </p:cNvSpPr>
          <p:nvPr>
            <p:ph type="sldNum" idx="12"/>
          </p:nvPr>
        </p:nvSpPr>
        <p:spPr>
          <a:xfrm>
            <a:off x="3970938" y="8829967"/>
            <a:ext cx="3037840" cy="466433"/>
          </a:xfrm>
          <a:prstGeom prst="rect">
            <a:avLst/>
          </a:prstGeom>
          <a:noFill/>
          <a:ln>
            <a:noFill/>
          </a:ln>
        </p:spPr>
        <p:txBody>
          <a:bodyPr spcFirstLastPara="1" wrap="square" lIns="93162" tIns="46568" rIns="93162" bIns="46568" anchor="b" anchorCtr="0">
            <a:noAutofit/>
          </a:bodyPr>
          <a:lstStyle/>
          <a:p>
            <a:pPr algn="r"/>
            <a:fld id="{00000000-1234-1234-1234-123412341234}" type="slidenum">
              <a:rPr lang="en-US"/>
              <a:pPr algn="r"/>
              <a:t>3</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
        <p:cNvGrpSpPr/>
        <p:nvPr/>
      </p:nvGrpSpPr>
      <p:grpSpPr>
        <a:xfrm>
          <a:off x="0" y="0"/>
          <a:ext cx="0" cy="0"/>
          <a:chOff x="0" y="0"/>
          <a:chExt cx="0" cy="0"/>
        </a:xfrm>
      </p:grpSpPr>
      <p:sp>
        <p:nvSpPr>
          <p:cNvPr id="259" name="Google Shape;259;p4: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260" name="Google Shape;260;p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Google Shape;340;p7: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341" name="Google Shape;341;p7: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344336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3"/>
        <p:cNvGrpSpPr/>
        <p:nvPr/>
      </p:nvGrpSpPr>
      <p:grpSpPr>
        <a:xfrm>
          <a:off x="0" y="0"/>
          <a:ext cx="0" cy="0"/>
          <a:chOff x="0" y="0"/>
          <a:chExt cx="0" cy="0"/>
        </a:xfrm>
      </p:grpSpPr>
      <p:sp>
        <p:nvSpPr>
          <p:cNvPr id="464" name="Google Shape;464;p9: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465" name="Google Shape;465;p9: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0"/>
        <p:cNvGrpSpPr/>
        <p:nvPr/>
      </p:nvGrpSpPr>
      <p:grpSpPr>
        <a:xfrm>
          <a:off x="0" y="0"/>
          <a:ext cx="0" cy="0"/>
          <a:chOff x="0" y="0"/>
          <a:chExt cx="0" cy="0"/>
        </a:xfrm>
      </p:grpSpPr>
      <p:sp>
        <p:nvSpPr>
          <p:cNvPr id="321" name="Google Shape;321;p5: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322" name="Google Shape;322;p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7"/>
        <p:cNvGrpSpPr/>
        <p:nvPr/>
      </p:nvGrpSpPr>
      <p:grpSpPr>
        <a:xfrm>
          <a:off x="0" y="0"/>
          <a:ext cx="0" cy="0"/>
          <a:chOff x="0" y="0"/>
          <a:chExt cx="0" cy="0"/>
        </a:xfrm>
      </p:grpSpPr>
      <p:sp>
        <p:nvSpPr>
          <p:cNvPr id="328" name="Google Shape;328;p6: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329" name="Google Shape;329;p6: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5: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12" name="Google Shape;612;p1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395917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Slide">
  <p:cSld name="14_Title Slide">
    <p:bg>
      <p:bgPr>
        <a:blipFill>
          <a:blip r:embed="rId2">
            <a:alphaModFix/>
          </a:blip>
          <a:stretch>
            <a:fillRect/>
          </a:stretch>
        </a:blipFill>
        <a:effectLst/>
      </p:bgPr>
    </p:bg>
    <p:spTree>
      <p:nvGrpSpPr>
        <p:cNvPr id="1" name="Shape 15"/>
        <p:cNvGrpSpPr/>
        <p:nvPr/>
      </p:nvGrpSpPr>
      <p:grpSpPr>
        <a:xfrm>
          <a:off x="0" y="0"/>
          <a:ext cx="0" cy="0"/>
          <a:chOff x="0" y="0"/>
          <a:chExt cx="0" cy="0"/>
        </a:xfrm>
      </p:grpSpPr>
      <p:sp>
        <p:nvSpPr>
          <p:cNvPr id="16" name="Google Shape;16;p30"/>
          <p:cNvSpPr txBox="1">
            <a:spLocks noGrp="1"/>
          </p:cNvSpPr>
          <p:nvPr>
            <p:ph type="ctrTitle"/>
          </p:nvPr>
        </p:nvSpPr>
        <p:spPr>
          <a:xfrm>
            <a:off x="341868" y="1683430"/>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6600"/>
              <a:buFont typeface="PT Serif"/>
              <a:buNone/>
              <a:defRPr sz="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30"/>
          <p:cNvSpPr txBox="1">
            <a:spLocks noGrp="1"/>
          </p:cNvSpPr>
          <p:nvPr>
            <p:ph type="subTitle" idx="1"/>
          </p:nvPr>
        </p:nvSpPr>
        <p:spPr>
          <a:xfrm>
            <a:off x="341868" y="4099381"/>
            <a:ext cx="48524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000"/>
              <a:buNone/>
              <a:defRPr sz="2000">
                <a:solidFill>
                  <a:schemeClr val="lt1"/>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30"/>
          <p:cNvSpPr txBox="1">
            <a:spLocks noGrp="1"/>
          </p:cNvSpPr>
          <p:nvPr>
            <p:ph type="dt" idx="10"/>
          </p:nvPr>
        </p:nvSpPr>
        <p:spPr>
          <a:xfrm>
            <a:off x="341868" y="447448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 name="Google Shape;19;p30"/>
          <p:cNvSpPr txBox="1">
            <a:spLocks noGrp="1"/>
          </p:cNvSpPr>
          <p:nvPr>
            <p:ph type="body" idx="2"/>
          </p:nvPr>
        </p:nvSpPr>
        <p:spPr>
          <a:xfrm>
            <a:off x="341868" y="1269031"/>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 name="Google Shape;20;p30"/>
          <p:cNvPicPr preferRelativeResize="0"/>
          <p:nvPr/>
        </p:nvPicPr>
        <p:blipFill rotWithShape="1">
          <a:blip r:embed="rId3">
            <a:alphaModFix/>
          </a:blip>
          <a:srcRect/>
          <a:stretch/>
        </p:blipFill>
        <p:spPr>
          <a:xfrm>
            <a:off x="10313774" y="6051214"/>
            <a:ext cx="1623008" cy="486903"/>
          </a:xfrm>
          <a:prstGeom prst="rect">
            <a:avLst/>
          </a:prstGeom>
          <a:noFill/>
          <a:ln>
            <a:noFill/>
          </a:ln>
        </p:spPr>
      </p:pic>
      <p:pic>
        <p:nvPicPr>
          <p:cNvPr id="21" name="Google Shape;21;p30"/>
          <p:cNvPicPr preferRelativeResize="0"/>
          <p:nvPr/>
        </p:nvPicPr>
        <p:blipFill rotWithShape="1">
          <a:blip r:embed="rId4">
            <a:alphaModFix/>
          </a:blip>
          <a:srcRect/>
          <a:stretch/>
        </p:blipFill>
        <p:spPr>
          <a:xfrm>
            <a:off x="10297298" y="6051214"/>
            <a:ext cx="1623008" cy="486903"/>
          </a:xfrm>
          <a:prstGeom prst="rect">
            <a:avLst/>
          </a:prstGeom>
          <a:noFill/>
          <a:ln>
            <a:noFill/>
          </a:ln>
        </p:spPr>
      </p:pic>
      <p:pic>
        <p:nvPicPr>
          <p:cNvPr id="22" name="Google Shape;22;p30"/>
          <p:cNvPicPr preferRelativeResize="0"/>
          <p:nvPr/>
        </p:nvPicPr>
        <p:blipFill rotWithShape="1">
          <a:blip r:embed="rId5">
            <a:alphaModFix/>
          </a:blip>
          <a:srcRect/>
          <a:stretch/>
        </p:blipFill>
        <p:spPr>
          <a:xfrm>
            <a:off x="424248" y="5988105"/>
            <a:ext cx="2604948" cy="580008"/>
          </a:xfrm>
          <a:prstGeom prst="rect">
            <a:avLst/>
          </a:prstGeom>
          <a:noFill/>
          <a:ln>
            <a:noFill/>
          </a:ln>
        </p:spPr>
      </p:pic>
      <p:cxnSp>
        <p:nvCxnSpPr>
          <p:cNvPr id="23" name="Google Shape;23;p30"/>
          <p:cNvCxnSpPr/>
          <p:nvPr/>
        </p:nvCxnSpPr>
        <p:spPr>
          <a:xfrm>
            <a:off x="419100" y="5548640"/>
            <a:ext cx="11353800" cy="0"/>
          </a:xfrm>
          <a:prstGeom prst="straightConnector1">
            <a:avLst/>
          </a:prstGeom>
          <a:noFill/>
          <a:ln w="19050" cap="flat" cmpd="sng">
            <a:solidFill>
              <a:schemeClr val="lt1"/>
            </a:solidFill>
            <a:prstDash val="solid"/>
            <a:miter lim="800000"/>
            <a:headEnd type="none" w="sm" len="sm"/>
            <a:tailEnd type="none" w="sm" len="sm"/>
          </a:ln>
        </p:spPr>
      </p:cxn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73"/>
        <p:cNvGrpSpPr/>
        <p:nvPr/>
      </p:nvGrpSpPr>
      <p:grpSpPr>
        <a:xfrm>
          <a:off x="0" y="0"/>
          <a:ext cx="0" cy="0"/>
          <a:chOff x="0" y="0"/>
          <a:chExt cx="0" cy="0"/>
        </a:xfrm>
      </p:grpSpPr>
      <p:sp>
        <p:nvSpPr>
          <p:cNvPr id="74" name="Google Shape;74;p39"/>
          <p:cNvSpPr/>
          <p:nvPr/>
        </p:nvSpPr>
        <p:spPr>
          <a:xfrm>
            <a:off x="0" y="0"/>
            <a:ext cx="12200239" cy="6858000"/>
          </a:xfrm>
          <a:prstGeom prst="rect">
            <a:avLst/>
          </a:prstGeom>
          <a:solidFill>
            <a:srgbClr val="A9D4FE">
              <a:alpha val="6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 name="Google Shape;75;p39"/>
          <p:cNvSpPr/>
          <p:nvPr/>
        </p:nvSpPr>
        <p:spPr>
          <a:xfrm>
            <a:off x="-8239" y="5725297"/>
            <a:ext cx="12200239" cy="113270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6" name="Google Shape;76;p39"/>
          <p:cNvSpPr txBox="1">
            <a:spLocks noGrp="1"/>
          </p:cNvSpPr>
          <p:nvPr>
            <p:ph type="ctrTitle"/>
          </p:nvPr>
        </p:nvSpPr>
        <p:spPr>
          <a:xfrm>
            <a:off x="341868" y="1770694"/>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 name="Google Shape;77;p39"/>
          <p:cNvSpPr txBox="1">
            <a:spLocks noGrp="1"/>
          </p:cNvSpPr>
          <p:nvPr>
            <p:ph type="body" idx="1"/>
          </p:nvPr>
        </p:nvSpPr>
        <p:spPr>
          <a:xfrm>
            <a:off x="341868" y="1356295"/>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 name="Google Shape;78;p39"/>
          <p:cNvPicPr preferRelativeResize="0"/>
          <p:nvPr/>
        </p:nvPicPr>
        <p:blipFill rotWithShape="1">
          <a:blip r:embed="rId2">
            <a:alphaModFix/>
          </a:blip>
          <a:srcRect/>
          <a:stretch/>
        </p:blipFill>
        <p:spPr>
          <a:xfrm>
            <a:off x="10552670" y="6124872"/>
            <a:ext cx="1384113" cy="415234"/>
          </a:xfrm>
          <a:prstGeom prst="rect">
            <a:avLst/>
          </a:prstGeom>
          <a:noFill/>
          <a:ln>
            <a:noFill/>
          </a:ln>
        </p:spPr>
      </p:pic>
      <p:grpSp>
        <p:nvGrpSpPr>
          <p:cNvPr id="79" name="Google Shape;79;p39"/>
          <p:cNvGrpSpPr/>
          <p:nvPr/>
        </p:nvGrpSpPr>
        <p:grpSpPr>
          <a:xfrm>
            <a:off x="432486" y="6116925"/>
            <a:ext cx="1873603" cy="415350"/>
            <a:chOff x="432486" y="6131005"/>
            <a:chExt cx="1873603" cy="415350"/>
          </a:xfrm>
        </p:grpSpPr>
        <p:pic>
          <p:nvPicPr>
            <p:cNvPr id="80" name="Google Shape;80;p39"/>
            <p:cNvPicPr preferRelativeResize="0"/>
            <p:nvPr/>
          </p:nvPicPr>
          <p:blipFill rotWithShape="1">
            <a:blip r:embed="rId3">
              <a:alphaModFix/>
            </a:blip>
            <a:srcRect/>
            <a:stretch/>
          </p:blipFill>
          <p:spPr>
            <a:xfrm>
              <a:off x="432486" y="6131005"/>
              <a:ext cx="1873603" cy="415350"/>
            </a:xfrm>
            <a:prstGeom prst="rect">
              <a:avLst/>
            </a:prstGeom>
            <a:noFill/>
            <a:ln>
              <a:noFill/>
            </a:ln>
          </p:spPr>
        </p:pic>
        <p:pic>
          <p:nvPicPr>
            <p:cNvPr id="81" name="Google Shape;81;p39"/>
            <p:cNvPicPr preferRelativeResize="0"/>
            <p:nvPr/>
          </p:nvPicPr>
          <p:blipFill rotWithShape="1">
            <a:blip r:embed="rId4">
              <a:alphaModFix/>
            </a:blip>
            <a:srcRect l="25281" r="50096"/>
            <a:stretch/>
          </p:blipFill>
          <p:spPr>
            <a:xfrm>
              <a:off x="906162" y="6131005"/>
              <a:ext cx="461320" cy="415350"/>
            </a:xfrm>
            <a:prstGeom prst="rect">
              <a:avLst/>
            </a:prstGeom>
            <a:noFill/>
            <a:ln>
              <a:noFill/>
            </a:ln>
          </p:spPr>
        </p:pic>
      </p:grpSp>
      <p:sp>
        <p:nvSpPr>
          <p:cNvPr id="82" name="Google Shape;82;p39"/>
          <p:cNvSpPr txBox="1">
            <a:spLocks noGrp="1"/>
          </p:cNvSpPr>
          <p:nvPr>
            <p:ph type="dt" idx="10"/>
          </p:nvPr>
        </p:nvSpPr>
        <p:spPr>
          <a:xfrm>
            <a:off x="341868" y="4368504"/>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 name="Google Shape;83;p39"/>
          <p:cNvSpPr txBox="1">
            <a:spLocks noGrp="1"/>
          </p:cNvSpPr>
          <p:nvPr>
            <p:ph type="subTitle" idx="2"/>
          </p:nvPr>
        </p:nvSpPr>
        <p:spPr>
          <a:xfrm>
            <a:off x="341868" y="3993405"/>
            <a:ext cx="52080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2"/>
              </a:buClr>
              <a:buSzPts val="2000"/>
              <a:buNone/>
              <a:defRPr sz="2000">
                <a:solidFill>
                  <a:schemeClr val="dk2"/>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Slide">
  <p:cSld name="10_Title Slide">
    <p:bg>
      <p:bgPr>
        <a:blipFill>
          <a:blip r:embed="rId2">
            <a:alphaModFix/>
          </a:blip>
          <a:stretch>
            <a:fillRect/>
          </a:stretch>
        </a:blipFill>
        <a:effectLst/>
      </p:bgPr>
    </p:bg>
    <p:spTree>
      <p:nvGrpSpPr>
        <p:cNvPr id="1" name="Shape 84"/>
        <p:cNvGrpSpPr/>
        <p:nvPr/>
      </p:nvGrpSpPr>
      <p:grpSpPr>
        <a:xfrm>
          <a:off x="0" y="0"/>
          <a:ext cx="0" cy="0"/>
          <a:chOff x="0" y="0"/>
          <a:chExt cx="0" cy="0"/>
        </a:xfrm>
      </p:grpSpPr>
      <p:sp>
        <p:nvSpPr>
          <p:cNvPr id="85" name="Google Shape;85;p40"/>
          <p:cNvSpPr/>
          <p:nvPr/>
        </p:nvSpPr>
        <p:spPr>
          <a:xfrm rot="10800000" flipH="1">
            <a:off x="0" y="5735636"/>
            <a:ext cx="12192000" cy="1122363"/>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 name="Google Shape;86;p40"/>
          <p:cNvSpPr txBox="1">
            <a:spLocks noGrp="1"/>
          </p:cNvSpPr>
          <p:nvPr>
            <p:ph type="ctrTitle"/>
          </p:nvPr>
        </p:nvSpPr>
        <p:spPr>
          <a:xfrm>
            <a:off x="325391" y="1908431"/>
            <a:ext cx="7830960" cy="1813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lt1"/>
              </a:buClr>
              <a:buSzPts val="6000"/>
              <a:buFont typeface="PT Serif"/>
              <a:buNone/>
              <a:defRPr sz="6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7" name="Google Shape;87;p40"/>
          <p:cNvPicPr preferRelativeResize="0"/>
          <p:nvPr/>
        </p:nvPicPr>
        <p:blipFill rotWithShape="1">
          <a:blip r:embed="rId3">
            <a:alphaModFix/>
          </a:blip>
          <a:srcRect/>
          <a:stretch/>
        </p:blipFill>
        <p:spPr>
          <a:xfrm>
            <a:off x="432486" y="6122767"/>
            <a:ext cx="1873603" cy="415350"/>
          </a:xfrm>
          <a:prstGeom prst="rect">
            <a:avLst/>
          </a:prstGeom>
          <a:noFill/>
          <a:ln>
            <a:noFill/>
          </a:ln>
        </p:spPr>
      </p:pic>
      <p:pic>
        <p:nvPicPr>
          <p:cNvPr id="88" name="Google Shape;88;p40"/>
          <p:cNvPicPr preferRelativeResize="0"/>
          <p:nvPr/>
        </p:nvPicPr>
        <p:blipFill rotWithShape="1">
          <a:blip r:embed="rId4">
            <a:alphaModFix/>
          </a:blip>
          <a:srcRect/>
          <a:stretch/>
        </p:blipFill>
        <p:spPr>
          <a:xfrm>
            <a:off x="10520173" y="6114529"/>
            <a:ext cx="1400131" cy="420040"/>
          </a:xfrm>
          <a:prstGeom prst="rect">
            <a:avLst/>
          </a:prstGeom>
          <a:noFill/>
          <a:ln>
            <a:noFill/>
          </a:ln>
        </p:spPr>
      </p:pic>
      <p:sp>
        <p:nvSpPr>
          <p:cNvPr id="89" name="Google Shape;89;p40"/>
          <p:cNvSpPr txBox="1">
            <a:spLocks noGrp="1"/>
          </p:cNvSpPr>
          <p:nvPr>
            <p:ph type="body" idx="1"/>
          </p:nvPr>
        </p:nvSpPr>
        <p:spPr>
          <a:xfrm>
            <a:off x="341868" y="1493948"/>
            <a:ext cx="7814483"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 name="Google Shape;90;p40"/>
          <p:cNvSpPr txBox="1">
            <a:spLocks noGrp="1"/>
          </p:cNvSpPr>
          <p:nvPr>
            <p:ph type="subTitle" idx="2"/>
          </p:nvPr>
        </p:nvSpPr>
        <p:spPr>
          <a:xfrm>
            <a:off x="341868" y="3993405"/>
            <a:ext cx="52080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000"/>
              <a:buNone/>
              <a:defRPr sz="2000">
                <a:solidFill>
                  <a:schemeClr val="lt1"/>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1" name="Google Shape;91;p40"/>
          <p:cNvSpPr txBox="1">
            <a:spLocks noGrp="1"/>
          </p:cNvSpPr>
          <p:nvPr>
            <p:ph type="dt" idx="10"/>
          </p:nvPr>
        </p:nvSpPr>
        <p:spPr>
          <a:xfrm>
            <a:off x="341868" y="4368504"/>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rgbClr val="D7D9D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92"/>
        <p:cNvGrpSpPr/>
        <p:nvPr/>
      </p:nvGrpSpPr>
      <p:grpSpPr>
        <a:xfrm>
          <a:off x="0" y="0"/>
          <a:ext cx="0" cy="0"/>
          <a:chOff x="0" y="0"/>
          <a:chExt cx="0" cy="0"/>
        </a:xfrm>
      </p:grpSpPr>
      <p:pic>
        <p:nvPicPr>
          <p:cNvPr id="93" name="Google Shape;93;p41"/>
          <p:cNvPicPr preferRelativeResize="0"/>
          <p:nvPr/>
        </p:nvPicPr>
        <p:blipFill rotWithShape="1">
          <a:blip r:embed="rId2">
            <a:alphaModFix/>
          </a:blip>
          <a:srcRect l="-1" r="14401" b="14400"/>
          <a:stretch/>
        </p:blipFill>
        <p:spPr>
          <a:xfrm>
            <a:off x="0" y="0"/>
            <a:ext cx="12192000" cy="6858000"/>
          </a:xfrm>
          <a:prstGeom prst="rect">
            <a:avLst/>
          </a:prstGeom>
          <a:noFill/>
          <a:ln>
            <a:noFill/>
          </a:ln>
        </p:spPr>
      </p:pic>
      <p:sp>
        <p:nvSpPr>
          <p:cNvPr id="94" name="Google Shape;94;p41"/>
          <p:cNvSpPr/>
          <p:nvPr/>
        </p:nvSpPr>
        <p:spPr>
          <a:xfrm>
            <a:off x="0" y="0"/>
            <a:ext cx="12192000" cy="6858000"/>
          </a:xfrm>
          <a:prstGeom prst="rect">
            <a:avLst/>
          </a:prstGeom>
          <a:solidFill>
            <a:srgbClr val="A9D4FE">
              <a:alpha val="7333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5" name="Google Shape;95;p41"/>
          <p:cNvSpPr txBox="1">
            <a:spLocks noGrp="1"/>
          </p:cNvSpPr>
          <p:nvPr>
            <p:ph type="ctrTitle"/>
          </p:nvPr>
        </p:nvSpPr>
        <p:spPr>
          <a:xfrm>
            <a:off x="341868" y="1683430"/>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 name="Google Shape;96;p41"/>
          <p:cNvSpPr txBox="1">
            <a:spLocks noGrp="1"/>
          </p:cNvSpPr>
          <p:nvPr>
            <p:ph type="body" idx="1"/>
          </p:nvPr>
        </p:nvSpPr>
        <p:spPr>
          <a:xfrm>
            <a:off x="341868" y="1269031"/>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97" name="Google Shape;97;p41"/>
          <p:cNvPicPr preferRelativeResize="0"/>
          <p:nvPr/>
        </p:nvPicPr>
        <p:blipFill rotWithShape="1">
          <a:blip r:embed="rId3">
            <a:alphaModFix/>
          </a:blip>
          <a:srcRect/>
          <a:stretch/>
        </p:blipFill>
        <p:spPr>
          <a:xfrm>
            <a:off x="432486" y="5931243"/>
            <a:ext cx="2737549" cy="606874"/>
          </a:xfrm>
          <a:prstGeom prst="rect">
            <a:avLst/>
          </a:prstGeom>
          <a:noFill/>
          <a:ln>
            <a:noFill/>
          </a:ln>
        </p:spPr>
      </p:pic>
      <p:pic>
        <p:nvPicPr>
          <p:cNvPr id="98" name="Google Shape;98;p41"/>
          <p:cNvPicPr preferRelativeResize="0"/>
          <p:nvPr/>
        </p:nvPicPr>
        <p:blipFill rotWithShape="1">
          <a:blip r:embed="rId4">
            <a:alphaModFix/>
          </a:blip>
          <a:srcRect/>
          <a:stretch/>
        </p:blipFill>
        <p:spPr>
          <a:xfrm>
            <a:off x="10313774" y="6051214"/>
            <a:ext cx="1623008" cy="486903"/>
          </a:xfrm>
          <a:prstGeom prst="rect">
            <a:avLst/>
          </a:prstGeom>
          <a:noFill/>
          <a:ln>
            <a:noFill/>
          </a:ln>
        </p:spPr>
      </p:pic>
      <p:cxnSp>
        <p:nvCxnSpPr>
          <p:cNvPr id="99" name="Google Shape;99;p41"/>
          <p:cNvCxnSpPr/>
          <p:nvPr/>
        </p:nvCxnSpPr>
        <p:spPr>
          <a:xfrm>
            <a:off x="419100" y="5548640"/>
            <a:ext cx="11353800" cy="0"/>
          </a:xfrm>
          <a:prstGeom prst="straightConnector1">
            <a:avLst/>
          </a:prstGeom>
          <a:noFill/>
          <a:ln w="19050" cap="flat" cmpd="sng">
            <a:solidFill>
              <a:schemeClr val="dk1"/>
            </a:solidFill>
            <a:prstDash val="solid"/>
            <a:miter lim="800000"/>
            <a:headEnd type="none" w="sm" len="sm"/>
            <a:tailEnd type="none" w="sm" len="sm"/>
          </a:ln>
        </p:spPr>
      </p:cxnSp>
      <p:sp>
        <p:nvSpPr>
          <p:cNvPr id="100" name="Google Shape;100;p41"/>
          <p:cNvSpPr txBox="1">
            <a:spLocks noGrp="1"/>
          </p:cNvSpPr>
          <p:nvPr>
            <p:ph type="subTitle" idx="2"/>
          </p:nvPr>
        </p:nvSpPr>
        <p:spPr>
          <a:xfrm>
            <a:off x="341868" y="4099381"/>
            <a:ext cx="48524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2"/>
              </a:buClr>
              <a:buSzPts val="2000"/>
              <a:buNone/>
              <a:defRPr sz="2000">
                <a:solidFill>
                  <a:schemeClr val="dk2"/>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1" name="Google Shape;101;p41"/>
          <p:cNvSpPr txBox="1">
            <a:spLocks noGrp="1"/>
          </p:cNvSpPr>
          <p:nvPr>
            <p:ph type="dt" idx="10"/>
          </p:nvPr>
        </p:nvSpPr>
        <p:spPr>
          <a:xfrm>
            <a:off x="341868" y="447448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102"/>
        <p:cNvGrpSpPr/>
        <p:nvPr/>
      </p:nvGrpSpPr>
      <p:grpSpPr>
        <a:xfrm>
          <a:off x="0" y="0"/>
          <a:ext cx="0" cy="0"/>
          <a:chOff x="0" y="0"/>
          <a:chExt cx="0" cy="0"/>
        </a:xfrm>
      </p:grpSpPr>
      <p:grpSp>
        <p:nvGrpSpPr>
          <p:cNvPr id="103" name="Google Shape;103;p42"/>
          <p:cNvGrpSpPr/>
          <p:nvPr/>
        </p:nvGrpSpPr>
        <p:grpSpPr>
          <a:xfrm>
            <a:off x="0" y="0"/>
            <a:ext cx="12192001" cy="6858000"/>
            <a:chOff x="0" y="0"/>
            <a:chExt cx="12192001" cy="6858000"/>
          </a:xfrm>
        </p:grpSpPr>
        <p:pic>
          <p:nvPicPr>
            <p:cNvPr id="104" name="Google Shape;104;p42" descr="Background pattern&#10;&#10;Description automatically generated"/>
            <p:cNvPicPr preferRelativeResize="0"/>
            <p:nvPr/>
          </p:nvPicPr>
          <p:blipFill rotWithShape="1">
            <a:blip r:embed="rId2">
              <a:alphaModFix/>
            </a:blip>
            <a:srcRect t="515" r="4392" b="63627"/>
            <a:stretch/>
          </p:blipFill>
          <p:spPr>
            <a:xfrm>
              <a:off x="1" y="0"/>
              <a:ext cx="12192000" cy="6858000"/>
            </a:xfrm>
            <a:prstGeom prst="rect">
              <a:avLst/>
            </a:prstGeom>
            <a:noFill/>
            <a:ln>
              <a:noFill/>
            </a:ln>
          </p:spPr>
        </p:pic>
        <p:sp>
          <p:nvSpPr>
            <p:cNvPr id="105" name="Google Shape;105;p42"/>
            <p:cNvSpPr/>
            <p:nvPr/>
          </p:nvSpPr>
          <p:spPr>
            <a:xfrm>
              <a:off x="0" y="0"/>
              <a:ext cx="12192000" cy="6858000"/>
            </a:xfrm>
            <a:prstGeom prst="rect">
              <a:avLst/>
            </a:prstGeom>
            <a:solidFill>
              <a:srgbClr val="A9D4FE">
                <a:alpha val="55686"/>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pic>
        <p:nvPicPr>
          <p:cNvPr id="106" name="Google Shape;106;p42"/>
          <p:cNvPicPr preferRelativeResize="0"/>
          <p:nvPr/>
        </p:nvPicPr>
        <p:blipFill rotWithShape="1">
          <a:blip r:embed="rId3">
            <a:alphaModFix/>
          </a:blip>
          <a:srcRect/>
          <a:stretch/>
        </p:blipFill>
        <p:spPr>
          <a:xfrm>
            <a:off x="432486" y="5931243"/>
            <a:ext cx="2737549" cy="606874"/>
          </a:xfrm>
          <a:prstGeom prst="rect">
            <a:avLst/>
          </a:prstGeom>
          <a:noFill/>
          <a:ln>
            <a:noFill/>
          </a:ln>
        </p:spPr>
      </p:pic>
      <p:sp>
        <p:nvSpPr>
          <p:cNvPr id="107" name="Google Shape;107;p42"/>
          <p:cNvSpPr txBox="1">
            <a:spLocks noGrp="1"/>
          </p:cNvSpPr>
          <p:nvPr>
            <p:ph type="ctrTitle"/>
          </p:nvPr>
        </p:nvSpPr>
        <p:spPr>
          <a:xfrm>
            <a:off x="341868" y="1683430"/>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 name="Google Shape;108;p42"/>
          <p:cNvSpPr txBox="1">
            <a:spLocks noGrp="1"/>
          </p:cNvSpPr>
          <p:nvPr>
            <p:ph type="body" idx="1"/>
          </p:nvPr>
        </p:nvSpPr>
        <p:spPr>
          <a:xfrm>
            <a:off x="341868" y="1269031"/>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9" name="Google Shape;109;p42"/>
          <p:cNvPicPr preferRelativeResize="0"/>
          <p:nvPr/>
        </p:nvPicPr>
        <p:blipFill rotWithShape="1">
          <a:blip r:embed="rId4">
            <a:alphaModFix/>
          </a:blip>
          <a:srcRect/>
          <a:stretch/>
        </p:blipFill>
        <p:spPr>
          <a:xfrm>
            <a:off x="10313774" y="6051214"/>
            <a:ext cx="1623008" cy="486903"/>
          </a:xfrm>
          <a:prstGeom prst="rect">
            <a:avLst/>
          </a:prstGeom>
          <a:noFill/>
          <a:ln>
            <a:noFill/>
          </a:ln>
        </p:spPr>
      </p:pic>
      <p:sp>
        <p:nvSpPr>
          <p:cNvPr id="110" name="Google Shape;110;p42"/>
          <p:cNvSpPr txBox="1">
            <a:spLocks noGrp="1"/>
          </p:cNvSpPr>
          <p:nvPr>
            <p:ph type="subTitle" idx="2"/>
          </p:nvPr>
        </p:nvSpPr>
        <p:spPr>
          <a:xfrm>
            <a:off x="341868" y="4099381"/>
            <a:ext cx="48524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2"/>
              </a:buClr>
              <a:buSzPts val="2000"/>
              <a:buNone/>
              <a:defRPr sz="2000">
                <a:solidFill>
                  <a:schemeClr val="dk2"/>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 name="Google Shape;111;p42"/>
          <p:cNvSpPr txBox="1">
            <a:spLocks noGrp="1"/>
          </p:cNvSpPr>
          <p:nvPr>
            <p:ph type="dt" idx="10"/>
          </p:nvPr>
        </p:nvSpPr>
        <p:spPr>
          <a:xfrm>
            <a:off x="341868" y="447448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12" name="Google Shape;112;p42"/>
          <p:cNvCxnSpPr/>
          <p:nvPr/>
        </p:nvCxnSpPr>
        <p:spPr>
          <a:xfrm>
            <a:off x="419100" y="5548640"/>
            <a:ext cx="11353800" cy="0"/>
          </a:xfrm>
          <a:prstGeom prst="straightConnector1">
            <a:avLst/>
          </a:prstGeom>
          <a:noFill/>
          <a:ln w="19050" cap="flat" cmpd="sng">
            <a:solidFill>
              <a:schemeClr val="dk1"/>
            </a:solidFill>
            <a:prstDash val="solid"/>
            <a:miter lim="800000"/>
            <a:headEnd type="none" w="sm" len="sm"/>
            <a:tailEnd type="none" w="sm" len="sm"/>
          </a:ln>
        </p:spPr>
      </p:cxn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9_Title Slide">
  <p:cSld name="9_Title Slide">
    <p:bg>
      <p:bgPr>
        <a:solidFill>
          <a:srgbClr val="C6F6FF"/>
        </a:solidFill>
        <a:effectLst/>
      </p:bgPr>
    </p:bg>
    <p:spTree>
      <p:nvGrpSpPr>
        <p:cNvPr id="1" name="Shape 113"/>
        <p:cNvGrpSpPr/>
        <p:nvPr/>
      </p:nvGrpSpPr>
      <p:grpSpPr>
        <a:xfrm>
          <a:off x="0" y="0"/>
          <a:ext cx="0" cy="0"/>
          <a:chOff x="0" y="0"/>
          <a:chExt cx="0" cy="0"/>
        </a:xfrm>
      </p:grpSpPr>
      <p:sp>
        <p:nvSpPr>
          <p:cNvPr id="114" name="Google Shape;114;p43"/>
          <p:cNvSpPr txBox="1">
            <a:spLocks noGrp="1"/>
          </p:cNvSpPr>
          <p:nvPr>
            <p:ph type="ctrTitle"/>
          </p:nvPr>
        </p:nvSpPr>
        <p:spPr>
          <a:xfrm>
            <a:off x="341868" y="2612711"/>
            <a:ext cx="9411732"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 name="Google Shape;115;p43"/>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 name="Google Shape;116;p43"/>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7" name="Google Shape;117;p43"/>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5_Title Slide">
  <p:cSld name="5_Title Slide">
    <p:bg>
      <p:bgPr>
        <a:solidFill>
          <a:srgbClr val="014479"/>
        </a:solidFill>
        <a:effectLst/>
      </p:bgPr>
    </p:bg>
    <p:spTree>
      <p:nvGrpSpPr>
        <p:cNvPr id="1" name="Shape 118"/>
        <p:cNvGrpSpPr/>
        <p:nvPr/>
      </p:nvGrpSpPr>
      <p:grpSpPr>
        <a:xfrm>
          <a:off x="0" y="0"/>
          <a:ext cx="0" cy="0"/>
          <a:chOff x="0" y="0"/>
          <a:chExt cx="0" cy="0"/>
        </a:xfrm>
      </p:grpSpPr>
      <p:sp>
        <p:nvSpPr>
          <p:cNvPr id="119" name="Google Shape;119;p44"/>
          <p:cNvSpPr txBox="1">
            <a:spLocks noGrp="1"/>
          </p:cNvSpPr>
          <p:nvPr>
            <p:ph type="ctrTitle"/>
          </p:nvPr>
        </p:nvSpPr>
        <p:spPr>
          <a:xfrm>
            <a:off x="341868" y="2612711"/>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6600"/>
              <a:buFont typeface="PT Serif"/>
              <a:buNone/>
              <a:defRPr sz="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 name="Google Shape;120;p44"/>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 name="Google Shape;121;p44"/>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E8E8E8"/>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 name="Google Shape;122;p44"/>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E8E8E8"/>
                </a:solidFill>
                <a:latin typeface="Source Sans Pro"/>
                <a:ea typeface="Source Sans Pro"/>
                <a:cs typeface="Source Sans Pro"/>
                <a:sym typeface="Source Sans Pro"/>
              </a:defRPr>
            </a:lvl1pPr>
            <a:lvl2pPr marL="0" lvl="1" indent="0" algn="r">
              <a:spcBef>
                <a:spcPts val="0"/>
              </a:spcBef>
              <a:buNone/>
              <a:defRPr sz="1200" b="0" i="0">
                <a:solidFill>
                  <a:srgbClr val="E8E8E8"/>
                </a:solidFill>
                <a:latin typeface="Source Sans Pro"/>
                <a:ea typeface="Source Sans Pro"/>
                <a:cs typeface="Source Sans Pro"/>
                <a:sym typeface="Source Sans Pro"/>
              </a:defRPr>
            </a:lvl2pPr>
            <a:lvl3pPr marL="0" lvl="2" indent="0" algn="r">
              <a:spcBef>
                <a:spcPts val="0"/>
              </a:spcBef>
              <a:buNone/>
              <a:defRPr sz="1200" b="0" i="0">
                <a:solidFill>
                  <a:srgbClr val="E8E8E8"/>
                </a:solidFill>
                <a:latin typeface="Source Sans Pro"/>
                <a:ea typeface="Source Sans Pro"/>
                <a:cs typeface="Source Sans Pro"/>
                <a:sym typeface="Source Sans Pro"/>
              </a:defRPr>
            </a:lvl3pPr>
            <a:lvl4pPr marL="0" lvl="3" indent="0" algn="r">
              <a:spcBef>
                <a:spcPts val="0"/>
              </a:spcBef>
              <a:buNone/>
              <a:defRPr sz="1200" b="0" i="0">
                <a:solidFill>
                  <a:srgbClr val="E8E8E8"/>
                </a:solidFill>
                <a:latin typeface="Source Sans Pro"/>
                <a:ea typeface="Source Sans Pro"/>
                <a:cs typeface="Source Sans Pro"/>
                <a:sym typeface="Source Sans Pro"/>
              </a:defRPr>
            </a:lvl4pPr>
            <a:lvl5pPr marL="0" lvl="4" indent="0" algn="r">
              <a:spcBef>
                <a:spcPts val="0"/>
              </a:spcBef>
              <a:buNone/>
              <a:defRPr sz="1200" b="0" i="0">
                <a:solidFill>
                  <a:srgbClr val="E8E8E8"/>
                </a:solidFill>
                <a:latin typeface="Source Sans Pro"/>
                <a:ea typeface="Source Sans Pro"/>
                <a:cs typeface="Source Sans Pro"/>
                <a:sym typeface="Source Sans Pro"/>
              </a:defRPr>
            </a:lvl5pPr>
            <a:lvl6pPr marL="0" lvl="5" indent="0" algn="r">
              <a:spcBef>
                <a:spcPts val="0"/>
              </a:spcBef>
              <a:buNone/>
              <a:defRPr sz="1200" b="0" i="0">
                <a:solidFill>
                  <a:srgbClr val="E8E8E8"/>
                </a:solidFill>
                <a:latin typeface="Source Sans Pro"/>
                <a:ea typeface="Source Sans Pro"/>
                <a:cs typeface="Source Sans Pro"/>
                <a:sym typeface="Source Sans Pro"/>
              </a:defRPr>
            </a:lvl6pPr>
            <a:lvl7pPr marL="0" lvl="6" indent="0" algn="r">
              <a:spcBef>
                <a:spcPts val="0"/>
              </a:spcBef>
              <a:buNone/>
              <a:defRPr sz="1200" b="0" i="0">
                <a:solidFill>
                  <a:srgbClr val="E8E8E8"/>
                </a:solidFill>
                <a:latin typeface="Source Sans Pro"/>
                <a:ea typeface="Source Sans Pro"/>
                <a:cs typeface="Source Sans Pro"/>
                <a:sym typeface="Source Sans Pro"/>
              </a:defRPr>
            </a:lvl7pPr>
            <a:lvl8pPr marL="0" lvl="7" indent="0" algn="r">
              <a:spcBef>
                <a:spcPts val="0"/>
              </a:spcBef>
              <a:buNone/>
              <a:defRPr sz="1200" b="0" i="0">
                <a:solidFill>
                  <a:srgbClr val="E8E8E8"/>
                </a:solidFill>
                <a:latin typeface="Source Sans Pro"/>
                <a:ea typeface="Source Sans Pro"/>
                <a:cs typeface="Source Sans Pro"/>
                <a:sym typeface="Source Sans Pro"/>
              </a:defRPr>
            </a:lvl8pPr>
            <a:lvl9pPr marL="0" lvl="8" indent="0" algn="r">
              <a:spcBef>
                <a:spcPts val="0"/>
              </a:spcBef>
              <a:buNone/>
              <a:defRPr sz="1200" b="0" i="0">
                <a:solidFill>
                  <a:srgbClr val="E8E8E8"/>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12_Title Slide">
  <p:cSld name="12_Title Slide">
    <p:bg>
      <p:bgPr>
        <a:solidFill>
          <a:srgbClr val="BFE4FF"/>
        </a:solidFill>
        <a:effectLst/>
      </p:bgPr>
    </p:bg>
    <p:spTree>
      <p:nvGrpSpPr>
        <p:cNvPr id="1" name="Shape 128"/>
        <p:cNvGrpSpPr/>
        <p:nvPr/>
      </p:nvGrpSpPr>
      <p:grpSpPr>
        <a:xfrm>
          <a:off x="0" y="0"/>
          <a:ext cx="0" cy="0"/>
          <a:chOff x="0" y="0"/>
          <a:chExt cx="0" cy="0"/>
        </a:xfrm>
      </p:grpSpPr>
      <p:sp>
        <p:nvSpPr>
          <p:cNvPr id="129" name="Google Shape;129;p46"/>
          <p:cNvSpPr txBox="1">
            <a:spLocks noGrp="1"/>
          </p:cNvSpPr>
          <p:nvPr>
            <p:ph type="ctrTitle"/>
          </p:nvPr>
        </p:nvSpPr>
        <p:spPr>
          <a:xfrm>
            <a:off x="2465171" y="2767691"/>
            <a:ext cx="7261656" cy="1632577"/>
          </a:xfrm>
          <a:prstGeom prst="rect">
            <a:avLst/>
          </a:prstGeom>
          <a:noFill/>
          <a:ln>
            <a:noFill/>
          </a:ln>
        </p:spPr>
        <p:txBody>
          <a:bodyPr spcFirstLastPara="1" wrap="square" lIns="91425" tIns="45700" rIns="91425" bIns="45700" anchor="t" anchorCtr="0">
            <a:noAutofit/>
          </a:bodyPr>
          <a:lstStyle>
            <a:lvl1pPr lvl="0" algn="ctr">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 name="Google Shape;130;p46"/>
          <p:cNvSpPr txBox="1">
            <a:spLocks noGrp="1"/>
          </p:cNvSpPr>
          <p:nvPr>
            <p:ph type="body" idx="1"/>
          </p:nvPr>
        </p:nvSpPr>
        <p:spPr>
          <a:xfrm>
            <a:off x="3972696" y="2353292"/>
            <a:ext cx="4246607" cy="366651"/>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 name="Google Shape;131;p46"/>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2" name="Google Shape;132;p46"/>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33"/>
        <p:cNvGrpSpPr/>
        <p:nvPr/>
      </p:nvGrpSpPr>
      <p:grpSpPr>
        <a:xfrm>
          <a:off x="0" y="0"/>
          <a:ext cx="0" cy="0"/>
          <a:chOff x="0" y="0"/>
          <a:chExt cx="0" cy="0"/>
        </a:xfrm>
      </p:grpSpPr>
      <p:sp>
        <p:nvSpPr>
          <p:cNvPr id="134" name="Google Shape;134;p47"/>
          <p:cNvSpPr txBox="1">
            <a:spLocks noGrp="1"/>
          </p:cNvSpPr>
          <p:nvPr>
            <p:ph type="title"/>
          </p:nvPr>
        </p:nvSpPr>
        <p:spPr>
          <a:xfrm>
            <a:off x="305378" y="373491"/>
            <a:ext cx="5382228"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7"/>
          <p:cNvSpPr txBox="1">
            <a:spLocks noGrp="1"/>
          </p:cNvSpPr>
          <p:nvPr>
            <p:ph type="body" idx="1"/>
          </p:nvPr>
        </p:nvSpPr>
        <p:spPr>
          <a:xfrm>
            <a:off x="320246" y="1721708"/>
            <a:ext cx="5382228"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 name="Google Shape;136;p47"/>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7" name="Google Shape;137;p47"/>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138" name="Google Shape;138;p47"/>
          <p:cNvSpPr>
            <a:spLocks noGrp="1"/>
          </p:cNvSpPr>
          <p:nvPr>
            <p:ph type="pic" idx="2"/>
          </p:nvPr>
        </p:nvSpPr>
        <p:spPr>
          <a:xfrm>
            <a:off x="6096000" y="0"/>
            <a:ext cx="6096000" cy="6858000"/>
          </a:xfrm>
          <a:prstGeom prst="rect">
            <a:avLst/>
          </a:prstGeom>
          <a:noFill/>
          <a:ln>
            <a:noFill/>
          </a:ln>
        </p:spPr>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4_Two Content">
  <p:cSld name="4_Two Content">
    <p:spTree>
      <p:nvGrpSpPr>
        <p:cNvPr id="1" name="Shape 139"/>
        <p:cNvGrpSpPr/>
        <p:nvPr/>
      </p:nvGrpSpPr>
      <p:grpSpPr>
        <a:xfrm>
          <a:off x="0" y="0"/>
          <a:ext cx="0" cy="0"/>
          <a:chOff x="0" y="0"/>
          <a:chExt cx="0" cy="0"/>
        </a:xfrm>
      </p:grpSpPr>
      <p:sp>
        <p:nvSpPr>
          <p:cNvPr id="140" name="Google Shape;140;p48"/>
          <p:cNvSpPr txBox="1">
            <a:spLocks noGrp="1"/>
          </p:cNvSpPr>
          <p:nvPr>
            <p:ph type="body" idx="1"/>
          </p:nvPr>
        </p:nvSpPr>
        <p:spPr>
          <a:xfrm>
            <a:off x="320246" y="1721708"/>
            <a:ext cx="5382228"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 name="Google Shape;141;p48"/>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2" name="Google Shape;142;p48"/>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143" name="Google Shape;143;p48"/>
          <p:cNvSpPr>
            <a:spLocks noGrp="1"/>
          </p:cNvSpPr>
          <p:nvPr>
            <p:ph type="pic" idx="2"/>
          </p:nvPr>
        </p:nvSpPr>
        <p:spPr>
          <a:xfrm>
            <a:off x="6096000" y="0"/>
            <a:ext cx="6096000" cy="6858000"/>
          </a:xfrm>
          <a:prstGeom prst="rect">
            <a:avLst/>
          </a:prstGeom>
          <a:noFill/>
          <a:ln>
            <a:noFill/>
          </a:ln>
        </p:spPr>
      </p:sp>
      <p:sp>
        <p:nvSpPr>
          <p:cNvPr id="144" name="Google Shape;144;p48"/>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 name="Google Shape;145;p48"/>
          <p:cNvSpPr txBox="1">
            <a:spLocks noGrp="1"/>
          </p:cNvSpPr>
          <p:nvPr>
            <p:ph type="body" idx="3"/>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b="0" i="0">
                <a:solidFill>
                  <a:schemeClr val="dk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1_Two Content">
  <p:cSld name="1_Two Content">
    <p:spTree>
      <p:nvGrpSpPr>
        <p:cNvPr id="1" name="Shape 146"/>
        <p:cNvGrpSpPr/>
        <p:nvPr/>
      </p:nvGrpSpPr>
      <p:grpSpPr>
        <a:xfrm>
          <a:off x="0" y="0"/>
          <a:ext cx="0" cy="0"/>
          <a:chOff x="0" y="0"/>
          <a:chExt cx="0" cy="0"/>
        </a:xfrm>
      </p:grpSpPr>
      <p:sp>
        <p:nvSpPr>
          <p:cNvPr id="147" name="Google Shape;147;p49"/>
          <p:cNvSpPr txBox="1">
            <a:spLocks noGrp="1"/>
          </p:cNvSpPr>
          <p:nvPr>
            <p:ph type="title"/>
          </p:nvPr>
        </p:nvSpPr>
        <p:spPr>
          <a:xfrm>
            <a:off x="305378" y="373491"/>
            <a:ext cx="6311212"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 name="Google Shape;148;p49"/>
          <p:cNvSpPr txBox="1">
            <a:spLocks noGrp="1"/>
          </p:cNvSpPr>
          <p:nvPr>
            <p:ph type="body" idx="1"/>
          </p:nvPr>
        </p:nvSpPr>
        <p:spPr>
          <a:xfrm>
            <a:off x="320245" y="1721708"/>
            <a:ext cx="6311213"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sz="2000"/>
            </a:lvl1pPr>
            <a:lvl2pPr marL="914400" lvl="1" indent="-308610" algn="l">
              <a:lnSpc>
                <a:spcPct val="90000"/>
              </a:lnSpc>
              <a:spcBef>
                <a:spcPts val="500"/>
              </a:spcBef>
              <a:spcAft>
                <a:spcPts val="0"/>
              </a:spcAft>
              <a:buClr>
                <a:schemeClr val="accent2"/>
              </a:buClr>
              <a:buSzPts val="1260"/>
              <a:buFont typeface="Noto Sans Symbols"/>
              <a:buChar char="▪"/>
              <a:defRPr sz="1800"/>
            </a:lvl2pPr>
            <a:lvl3pPr marL="1371600" lvl="2" indent="-299719" algn="l">
              <a:lnSpc>
                <a:spcPct val="90000"/>
              </a:lnSpc>
              <a:spcBef>
                <a:spcPts val="500"/>
              </a:spcBef>
              <a:spcAft>
                <a:spcPts val="0"/>
              </a:spcAft>
              <a:buClr>
                <a:schemeClr val="accent2"/>
              </a:buClr>
              <a:buSzPts val="1120"/>
              <a:buFont typeface="Noto Sans Symbols"/>
              <a:buChar char="▪"/>
              <a:defRPr sz="1600"/>
            </a:lvl3pPr>
            <a:lvl4pPr marL="1828800" lvl="3" indent="-290830" algn="l">
              <a:lnSpc>
                <a:spcPct val="90000"/>
              </a:lnSpc>
              <a:spcBef>
                <a:spcPts val="500"/>
              </a:spcBef>
              <a:spcAft>
                <a:spcPts val="0"/>
              </a:spcAft>
              <a:buClr>
                <a:schemeClr val="accent2"/>
              </a:buClr>
              <a:buSzPts val="980"/>
              <a:buFont typeface="Noto Sans Symbols"/>
              <a:buChar char="▪"/>
              <a:defRPr sz="1400"/>
            </a:lvl4pPr>
            <a:lvl5pPr marL="2286000" lvl="4" indent="-290829" algn="l">
              <a:lnSpc>
                <a:spcPct val="90000"/>
              </a:lnSpc>
              <a:spcBef>
                <a:spcPts val="500"/>
              </a:spcBef>
              <a:spcAft>
                <a:spcPts val="0"/>
              </a:spcAft>
              <a:buClr>
                <a:schemeClr val="accent2"/>
              </a:buClr>
              <a:buSzPts val="980"/>
              <a:buFont typeface="Noto Sans Symbols"/>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9" name="Google Shape;149;p49"/>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0" name="Google Shape;150;p49"/>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151" name="Google Shape;151;p49"/>
          <p:cNvSpPr>
            <a:spLocks noGrp="1"/>
          </p:cNvSpPr>
          <p:nvPr>
            <p:ph type="pic" idx="2"/>
          </p:nvPr>
        </p:nvSpPr>
        <p:spPr>
          <a:xfrm>
            <a:off x="7372696" y="0"/>
            <a:ext cx="4819304" cy="6858000"/>
          </a:xfrm>
          <a:prstGeom prst="rect">
            <a:avLst/>
          </a:prstGeom>
          <a:noFill/>
          <a:ln>
            <a:noFill/>
          </a:ln>
        </p:spPr>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24"/>
        <p:cNvGrpSpPr/>
        <p:nvPr/>
      </p:nvGrpSpPr>
      <p:grpSpPr>
        <a:xfrm>
          <a:off x="0" y="0"/>
          <a:ext cx="0" cy="0"/>
          <a:chOff x="0" y="0"/>
          <a:chExt cx="0" cy="0"/>
        </a:xfrm>
      </p:grpSpPr>
      <p:sp>
        <p:nvSpPr>
          <p:cNvPr id="25" name="Google Shape;25;p31"/>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 name="Google Shape;26;p31"/>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 name="Google Shape;27;p31"/>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28" name="Google Shape;28;p31"/>
          <p:cNvSpPr txBox="1">
            <a:spLocks noGrp="1"/>
          </p:cNvSpPr>
          <p:nvPr>
            <p:ph type="body" idx="1"/>
          </p:nvPr>
        </p:nvSpPr>
        <p:spPr>
          <a:xfrm>
            <a:off x="419100" y="1364578"/>
            <a:ext cx="262825" cy="712787"/>
          </a:xfrm>
          <a:prstGeom prst="rect">
            <a:avLst/>
          </a:prstGeom>
          <a:noFill/>
          <a:ln>
            <a:noFill/>
          </a:ln>
        </p:spPr>
        <p:txBody>
          <a:bodyPr spcFirstLastPara="1" wrap="square" lIns="0" tIns="45700" rIns="0" bIns="45700" anchor="t" anchorCtr="0">
            <a:normAutofit/>
          </a:bodyPr>
          <a:lstStyle>
            <a:lvl1pPr marL="457200" lvl="0" indent="-228600" algn="l">
              <a:lnSpc>
                <a:spcPct val="90000"/>
              </a:lnSpc>
              <a:spcBef>
                <a:spcPts val="1000"/>
              </a:spcBef>
              <a:spcAft>
                <a:spcPts val="0"/>
              </a:spcAft>
              <a:buClr>
                <a:schemeClr val="accent2"/>
              </a:buClr>
              <a:buSzPts val="1200"/>
              <a:buNone/>
              <a:defRPr sz="1200" b="1" i="0">
                <a:solidFill>
                  <a:schemeClr val="accent2"/>
                </a:solidFill>
                <a:latin typeface="Source Sans Pro Semibold"/>
                <a:ea typeface="Source Sans Pro Semibold"/>
                <a:cs typeface="Source Sans Pro Semibold"/>
                <a:sym typeface="Source Sans Pro SemiBold"/>
              </a:defRPr>
            </a:lvl1pPr>
            <a:lvl2pPr marL="914400" lvl="1" indent="-342900" algn="l">
              <a:lnSpc>
                <a:spcPct val="90000"/>
              </a:lnSpc>
              <a:spcBef>
                <a:spcPts val="500"/>
              </a:spcBef>
              <a:spcAft>
                <a:spcPts val="0"/>
              </a:spcAft>
              <a:buClr>
                <a:schemeClr val="dk2"/>
              </a:buClr>
              <a:buSzPts val="1800"/>
              <a:buChar char="•"/>
              <a:defRPr/>
            </a:lvl2pPr>
            <a:lvl3pPr marL="1371600" lvl="2" indent="-342900" algn="l">
              <a:lnSpc>
                <a:spcPct val="90000"/>
              </a:lnSpc>
              <a:spcBef>
                <a:spcPts val="500"/>
              </a:spcBef>
              <a:spcAft>
                <a:spcPts val="0"/>
              </a:spcAft>
              <a:buClr>
                <a:schemeClr val="dk2"/>
              </a:buClr>
              <a:buSzPts val="1800"/>
              <a:buChar char="•"/>
              <a:defRPr/>
            </a:lvl3pPr>
            <a:lvl4pPr marL="1828800" lvl="3" indent="-342900" algn="l">
              <a:lnSpc>
                <a:spcPct val="90000"/>
              </a:lnSpc>
              <a:spcBef>
                <a:spcPts val="500"/>
              </a:spcBef>
              <a:spcAft>
                <a:spcPts val="0"/>
              </a:spcAft>
              <a:buClr>
                <a:schemeClr val="dk2"/>
              </a:buClr>
              <a:buSzPts val="1800"/>
              <a:buChar char="•"/>
              <a:defRPr/>
            </a:lvl4pPr>
            <a:lvl5pPr marL="2286000" lvl="4" indent="-342900" algn="l">
              <a:lnSpc>
                <a:spcPct val="90000"/>
              </a:lnSpc>
              <a:spcBef>
                <a:spcPts val="500"/>
              </a:spcBef>
              <a:spcAft>
                <a:spcPts val="0"/>
              </a:spcAft>
              <a:buClr>
                <a:schemeClr val="dk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 name="Google Shape;29;p31"/>
          <p:cNvSpPr txBox="1">
            <a:spLocks noGrp="1"/>
          </p:cNvSpPr>
          <p:nvPr>
            <p:ph type="body" idx="2"/>
          </p:nvPr>
        </p:nvSpPr>
        <p:spPr>
          <a:xfrm>
            <a:off x="852488" y="1364578"/>
            <a:ext cx="3278187" cy="47466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2000"/>
              <a:buNone/>
              <a:defRPr sz="2000"/>
            </a:lvl1pPr>
            <a:lvl2pPr marL="914400" lvl="1" indent="-342900" algn="l">
              <a:lnSpc>
                <a:spcPct val="90000"/>
              </a:lnSpc>
              <a:spcBef>
                <a:spcPts val="500"/>
              </a:spcBef>
              <a:spcAft>
                <a:spcPts val="0"/>
              </a:spcAft>
              <a:buClr>
                <a:schemeClr val="dk2"/>
              </a:buClr>
              <a:buSzPts val="1800"/>
              <a:buChar char="•"/>
              <a:defRPr/>
            </a:lvl2pPr>
            <a:lvl3pPr marL="1371600" lvl="2" indent="-342900" algn="l">
              <a:lnSpc>
                <a:spcPct val="90000"/>
              </a:lnSpc>
              <a:spcBef>
                <a:spcPts val="500"/>
              </a:spcBef>
              <a:spcAft>
                <a:spcPts val="0"/>
              </a:spcAft>
              <a:buClr>
                <a:schemeClr val="dk2"/>
              </a:buClr>
              <a:buSzPts val="1800"/>
              <a:buChar char="•"/>
              <a:defRPr/>
            </a:lvl3pPr>
            <a:lvl4pPr marL="1828800" lvl="3" indent="-342900" algn="l">
              <a:lnSpc>
                <a:spcPct val="90000"/>
              </a:lnSpc>
              <a:spcBef>
                <a:spcPts val="500"/>
              </a:spcBef>
              <a:spcAft>
                <a:spcPts val="0"/>
              </a:spcAft>
              <a:buClr>
                <a:schemeClr val="dk2"/>
              </a:buClr>
              <a:buSzPts val="1800"/>
              <a:buChar char="•"/>
              <a:defRPr/>
            </a:lvl4pPr>
            <a:lvl5pPr marL="2286000" lvl="4" indent="-342900" algn="l">
              <a:lnSpc>
                <a:spcPct val="90000"/>
              </a:lnSpc>
              <a:spcBef>
                <a:spcPts val="500"/>
              </a:spcBef>
              <a:spcAft>
                <a:spcPts val="0"/>
              </a:spcAft>
              <a:buClr>
                <a:schemeClr val="dk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52"/>
        <p:cNvGrpSpPr/>
        <p:nvPr/>
      </p:nvGrpSpPr>
      <p:grpSpPr>
        <a:xfrm>
          <a:off x="0" y="0"/>
          <a:ext cx="0" cy="0"/>
          <a:chOff x="0" y="0"/>
          <a:chExt cx="0" cy="0"/>
        </a:xfrm>
      </p:grpSpPr>
      <p:sp>
        <p:nvSpPr>
          <p:cNvPr id="153" name="Google Shape;153;p50"/>
          <p:cNvSpPr txBox="1">
            <a:spLocks noGrp="1"/>
          </p:cNvSpPr>
          <p:nvPr>
            <p:ph type="title"/>
          </p:nvPr>
        </p:nvSpPr>
        <p:spPr>
          <a:xfrm>
            <a:off x="302632" y="372559"/>
            <a:ext cx="10515600" cy="132556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 name="Google Shape;154;p50"/>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5" name="Google Shape;155;p50"/>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6" name="Google Shape;156;p50"/>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7"/>
        <p:cNvGrpSpPr/>
        <p:nvPr/>
      </p:nvGrpSpPr>
      <p:grpSpPr>
        <a:xfrm>
          <a:off x="0" y="0"/>
          <a:ext cx="0" cy="0"/>
          <a:chOff x="0" y="0"/>
          <a:chExt cx="0" cy="0"/>
        </a:xfrm>
      </p:grpSpPr>
      <p:sp>
        <p:nvSpPr>
          <p:cNvPr id="158" name="Google Shape;158;p51"/>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9" name="Google Shape;159;p51"/>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0" name="Google Shape;160;p51"/>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3_Two Content">
  <p:cSld name="3_Two Content">
    <p:spTree>
      <p:nvGrpSpPr>
        <p:cNvPr id="1" name="Shape 161"/>
        <p:cNvGrpSpPr/>
        <p:nvPr/>
      </p:nvGrpSpPr>
      <p:grpSpPr>
        <a:xfrm>
          <a:off x="0" y="0"/>
          <a:ext cx="0" cy="0"/>
          <a:chOff x="0" y="0"/>
          <a:chExt cx="0" cy="0"/>
        </a:xfrm>
      </p:grpSpPr>
      <p:sp>
        <p:nvSpPr>
          <p:cNvPr id="162" name="Google Shape;162;p52"/>
          <p:cNvSpPr/>
          <p:nvPr/>
        </p:nvSpPr>
        <p:spPr>
          <a:xfrm>
            <a:off x="6096000" y="0"/>
            <a:ext cx="6104239" cy="6858000"/>
          </a:xfrm>
          <a:prstGeom prst="rect">
            <a:avLst/>
          </a:prstGeom>
          <a:solidFill>
            <a:srgbClr val="BFE4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3" name="Google Shape;163;p52"/>
          <p:cNvSpPr txBox="1">
            <a:spLocks noGrp="1"/>
          </p:cNvSpPr>
          <p:nvPr>
            <p:ph type="title"/>
          </p:nvPr>
        </p:nvSpPr>
        <p:spPr>
          <a:xfrm>
            <a:off x="320246" y="2270681"/>
            <a:ext cx="5273246"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rgbClr val="014479"/>
              </a:buClr>
              <a:buSzPts val="3600"/>
              <a:buFont typeface="PT Serif"/>
              <a:buNone/>
              <a:defRPr>
                <a:solidFill>
                  <a:srgbClr val="01447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 name="Google Shape;164;p52"/>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5" name="Google Shape;165;p52"/>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166" name="Google Shape;166;p52"/>
          <p:cNvSpPr txBox="1">
            <a:spLocks noGrp="1"/>
          </p:cNvSpPr>
          <p:nvPr>
            <p:ph type="body" idx="1"/>
          </p:nvPr>
        </p:nvSpPr>
        <p:spPr>
          <a:xfrm>
            <a:off x="320246" y="3618898"/>
            <a:ext cx="5273246" cy="178803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accent2"/>
              </a:buClr>
              <a:buSzPts val="1120"/>
              <a:buFont typeface="Noto Sans Symbols"/>
              <a:buNone/>
              <a:defRPr sz="1600">
                <a:solidFill>
                  <a:schemeClr val="accent1"/>
                </a:solidFill>
              </a:defRPr>
            </a:lvl1pPr>
            <a:lvl2pPr marL="914400" lvl="1" indent="-228600" algn="l">
              <a:lnSpc>
                <a:spcPct val="90000"/>
              </a:lnSpc>
              <a:spcBef>
                <a:spcPts val="500"/>
              </a:spcBef>
              <a:spcAft>
                <a:spcPts val="0"/>
              </a:spcAft>
              <a:buClr>
                <a:schemeClr val="accent2"/>
              </a:buClr>
              <a:buSzPts val="1260"/>
              <a:buFont typeface="Noto Sans Symbols"/>
              <a:buNone/>
              <a:defRPr/>
            </a:lvl2pPr>
            <a:lvl3pPr marL="1371600" lvl="2" indent="-228600" algn="l">
              <a:lnSpc>
                <a:spcPct val="90000"/>
              </a:lnSpc>
              <a:spcBef>
                <a:spcPts val="500"/>
              </a:spcBef>
              <a:spcAft>
                <a:spcPts val="0"/>
              </a:spcAft>
              <a:buClr>
                <a:schemeClr val="accent2"/>
              </a:buClr>
              <a:buSzPts val="1120"/>
              <a:buFont typeface="Noto Sans Symbols"/>
              <a:buNone/>
              <a:defRPr/>
            </a:lvl3pPr>
            <a:lvl4pPr marL="1828800" lvl="3" indent="-228600" algn="l">
              <a:lnSpc>
                <a:spcPct val="90000"/>
              </a:lnSpc>
              <a:spcBef>
                <a:spcPts val="500"/>
              </a:spcBef>
              <a:spcAft>
                <a:spcPts val="0"/>
              </a:spcAft>
              <a:buClr>
                <a:schemeClr val="accent2"/>
              </a:buClr>
              <a:buSzPts val="980"/>
              <a:buFont typeface="Noto Sans Symbols"/>
              <a:buNone/>
              <a:defRPr/>
            </a:lvl4pPr>
            <a:lvl5pPr marL="2286000" lvl="4" indent="-228600" algn="l">
              <a:lnSpc>
                <a:spcPct val="90000"/>
              </a:lnSpc>
              <a:spcBef>
                <a:spcPts val="500"/>
              </a:spcBef>
              <a:spcAft>
                <a:spcPts val="0"/>
              </a:spcAft>
              <a:buClr>
                <a:schemeClr val="accent2"/>
              </a:buClr>
              <a:buSzPts val="980"/>
              <a:buFont typeface="Noto Sans Symbols"/>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67"/>
        <p:cNvGrpSpPr/>
        <p:nvPr/>
      </p:nvGrpSpPr>
      <p:grpSpPr>
        <a:xfrm>
          <a:off x="0" y="0"/>
          <a:ext cx="0" cy="0"/>
          <a:chOff x="0" y="0"/>
          <a:chExt cx="0" cy="0"/>
        </a:xfrm>
      </p:grpSpPr>
      <p:sp>
        <p:nvSpPr>
          <p:cNvPr id="168" name="Google Shape;168;p53"/>
          <p:cNvSpPr txBox="1">
            <a:spLocks noGrp="1"/>
          </p:cNvSpPr>
          <p:nvPr>
            <p:ph type="title"/>
          </p:nvPr>
        </p:nvSpPr>
        <p:spPr>
          <a:xfrm>
            <a:off x="331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PT Serif"/>
              <a:buNone/>
              <a:defRPr sz="32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 name="Google Shape;169;p53"/>
          <p:cNvSpPr>
            <a:spLocks noGrp="1"/>
          </p:cNvSpPr>
          <p:nvPr>
            <p:ph type="pic" idx="2"/>
          </p:nvPr>
        </p:nvSpPr>
        <p:spPr>
          <a:xfrm>
            <a:off x="5600700" y="992187"/>
            <a:ext cx="6172200" cy="4873625"/>
          </a:xfrm>
          <a:prstGeom prst="rect">
            <a:avLst/>
          </a:prstGeom>
          <a:noFill/>
          <a:ln>
            <a:noFill/>
          </a:ln>
        </p:spPr>
      </p:sp>
      <p:sp>
        <p:nvSpPr>
          <p:cNvPr id="170" name="Google Shape;170;p53"/>
          <p:cNvSpPr txBox="1">
            <a:spLocks noGrp="1"/>
          </p:cNvSpPr>
          <p:nvPr>
            <p:ph type="body" idx="1"/>
          </p:nvPr>
        </p:nvSpPr>
        <p:spPr>
          <a:xfrm>
            <a:off x="331788" y="2428081"/>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a:lvl1pPr>
            <a:lvl2pPr marL="914400" lvl="1" indent="-228600" algn="l">
              <a:lnSpc>
                <a:spcPct val="90000"/>
              </a:lnSpc>
              <a:spcBef>
                <a:spcPts val="500"/>
              </a:spcBef>
              <a:spcAft>
                <a:spcPts val="0"/>
              </a:spcAft>
              <a:buClr>
                <a:schemeClr val="dk2"/>
              </a:buClr>
              <a:buSzPts val="1400"/>
              <a:buNone/>
              <a:defRPr sz="1400"/>
            </a:lvl2pPr>
            <a:lvl3pPr marL="1371600" lvl="2" indent="-228600" algn="l">
              <a:lnSpc>
                <a:spcPct val="90000"/>
              </a:lnSpc>
              <a:spcBef>
                <a:spcPts val="500"/>
              </a:spcBef>
              <a:spcAft>
                <a:spcPts val="0"/>
              </a:spcAft>
              <a:buClr>
                <a:schemeClr val="dk2"/>
              </a:buClr>
              <a:buSzPts val="1200"/>
              <a:buNone/>
              <a:defRPr sz="1200"/>
            </a:lvl3pPr>
            <a:lvl4pPr marL="1828800" lvl="3" indent="-228600" algn="l">
              <a:lnSpc>
                <a:spcPct val="90000"/>
              </a:lnSpc>
              <a:spcBef>
                <a:spcPts val="500"/>
              </a:spcBef>
              <a:spcAft>
                <a:spcPts val="0"/>
              </a:spcAft>
              <a:buClr>
                <a:schemeClr val="dk2"/>
              </a:buClr>
              <a:buSzPts val="1000"/>
              <a:buNone/>
              <a:defRPr sz="1000"/>
            </a:lvl4pPr>
            <a:lvl5pPr marL="2286000" lvl="4" indent="-228600" algn="l">
              <a:lnSpc>
                <a:spcPct val="90000"/>
              </a:lnSpc>
              <a:spcBef>
                <a:spcPts val="500"/>
              </a:spcBef>
              <a:spcAft>
                <a:spcPts val="0"/>
              </a:spcAft>
              <a:buClr>
                <a:schemeClr val="dk2"/>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71" name="Google Shape;171;p53"/>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2" name="Google Shape;172;p53"/>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3" name="Google Shape;173;p53"/>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74"/>
        <p:cNvGrpSpPr/>
        <p:nvPr/>
      </p:nvGrpSpPr>
      <p:grpSpPr>
        <a:xfrm>
          <a:off x="0" y="0"/>
          <a:ext cx="0" cy="0"/>
          <a:chOff x="0" y="0"/>
          <a:chExt cx="0" cy="0"/>
        </a:xfrm>
      </p:grpSpPr>
      <p:sp>
        <p:nvSpPr>
          <p:cNvPr id="175" name="Google Shape;175;p54"/>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PT Serif"/>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6" name="Google Shape;176;p54"/>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2"/>
              </a:buClr>
              <a:buSzPts val="2400"/>
              <a:buNone/>
              <a:defRPr sz="2400"/>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7" name="Google Shape;177;p54"/>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8" name="Google Shape;178;p54"/>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9" name="Google Shape;179;p54"/>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2_Two Content">
  <p:cSld name="2_Two Content">
    <p:spTree>
      <p:nvGrpSpPr>
        <p:cNvPr id="1" name="Shape 30"/>
        <p:cNvGrpSpPr/>
        <p:nvPr/>
      </p:nvGrpSpPr>
      <p:grpSpPr>
        <a:xfrm>
          <a:off x="0" y="0"/>
          <a:ext cx="0" cy="0"/>
          <a:chOff x="0" y="0"/>
          <a:chExt cx="0" cy="0"/>
        </a:xfrm>
      </p:grpSpPr>
      <p:sp>
        <p:nvSpPr>
          <p:cNvPr id="31" name="Google Shape;31;p32"/>
          <p:cNvSpPr/>
          <p:nvPr/>
        </p:nvSpPr>
        <p:spPr>
          <a:xfrm>
            <a:off x="6096000" y="0"/>
            <a:ext cx="6104239"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32"/>
          <p:cNvSpPr txBox="1">
            <a:spLocks noGrp="1"/>
          </p:cNvSpPr>
          <p:nvPr>
            <p:ph type="title"/>
          </p:nvPr>
        </p:nvSpPr>
        <p:spPr>
          <a:xfrm>
            <a:off x="320246" y="2270681"/>
            <a:ext cx="5273246"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rgbClr val="014479"/>
              </a:buClr>
              <a:buSzPts val="3600"/>
              <a:buFont typeface="PT Serif"/>
              <a:buNone/>
              <a:defRPr>
                <a:solidFill>
                  <a:srgbClr val="01447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 name="Google Shape;33;p32"/>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 name="Google Shape;34;p32"/>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35" name="Google Shape;35;p32"/>
          <p:cNvSpPr txBox="1">
            <a:spLocks noGrp="1"/>
          </p:cNvSpPr>
          <p:nvPr>
            <p:ph type="body" idx="1"/>
          </p:nvPr>
        </p:nvSpPr>
        <p:spPr>
          <a:xfrm>
            <a:off x="320246" y="3618898"/>
            <a:ext cx="5273246" cy="178803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accent2"/>
              </a:buClr>
              <a:buSzPts val="1120"/>
              <a:buFont typeface="Noto Sans Symbols"/>
              <a:buNone/>
              <a:defRPr sz="1600">
                <a:solidFill>
                  <a:schemeClr val="accent1"/>
                </a:solidFill>
              </a:defRPr>
            </a:lvl1pPr>
            <a:lvl2pPr marL="914400" lvl="1" indent="-228600" algn="l">
              <a:lnSpc>
                <a:spcPct val="90000"/>
              </a:lnSpc>
              <a:spcBef>
                <a:spcPts val="500"/>
              </a:spcBef>
              <a:spcAft>
                <a:spcPts val="0"/>
              </a:spcAft>
              <a:buClr>
                <a:schemeClr val="accent2"/>
              </a:buClr>
              <a:buSzPts val="1260"/>
              <a:buFont typeface="Noto Sans Symbols"/>
              <a:buNone/>
              <a:defRPr/>
            </a:lvl2pPr>
            <a:lvl3pPr marL="1371600" lvl="2" indent="-228600" algn="l">
              <a:lnSpc>
                <a:spcPct val="90000"/>
              </a:lnSpc>
              <a:spcBef>
                <a:spcPts val="500"/>
              </a:spcBef>
              <a:spcAft>
                <a:spcPts val="0"/>
              </a:spcAft>
              <a:buClr>
                <a:schemeClr val="accent2"/>
              </a:buClr>
              <a:buSzPts val="1120"/>
              <a:buFont typeface="Noto Sans Symbols"/>
              <a:buNone/>
              <a:defRPr/>
            </a:lvl3pPr>
            <a:lvl4pPr marL="1828800" lvl="3" indent="-228600" algn="l">
              <a:lnSpc>
                <a:spcPct val="90000"/>
              </a:lnSpc>
              <a:spcBef>
                <a:spcPts val="500"/>
              </a:spcBef>
              <a:spcAft>
                <a:spcPts val="0"/>
              </a:spcAft>
              <a:buClr>
                <a:schemeClr val="accent2"/>
              </a:buClr>
              <a:buSzPts val="980"/>
              <a:buFont typeface="Noto Sans Symbols"/>
              <a:buNone/>
              <a:defRPr/>
            </a:lvl4pPr>
            <a:lvl5pPr marL="2286000" lvl="4" indent="-228600" algn="l">
              <a:lnSpc>
                <a:spcPct val="90000"/>
              </a:lnSpc>
              <a:spcBef>
                <a:spcPts val="500"/>
              </a:spcBef>
              <a:spcAft>
                <a:spcPts val="0"/>
              </a:spcAft>
              <a:buClr>
                <a:schemeClr val="accent2"/>
              </a:buClr>
              <a:buSzPts val="980"/>
              <a:buFont typeface="Noto Sans Symbols"/>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4_Title Slide">
  <p:cSld name="4_Title Slide">
    <p:bg>
      <p:bgPr>
        <a:solidFill>
          <a:schemeClr val="accent1"/>
        </a:solidFill>
        <a:effectLst/>
      </p:bgPr>
    </p:bg>
    <p:spTree>
      <p:nvGrpSpPr>
        <p:cNvPr id="1" name="Shape 36"/>
        <p:cNvGrpSpPr/>
        <p:nvPr/>
      </p:nvGrpSpPr>
      <p:grpSpPr>
        <a:xfrm>
          <a:off x="0" y="0"/>
          <a:ext cx="0" cy="0"/>
          <a:chOff x="0" y="0"/>
          <a:chExt cx="0" cy="0"/>
        </a:xfrm>
      </p:grpSpPr>
      <p:sp>
        <p:nvSpPr>
          <p:cNvPr id="37" name="Google Shape;37;p33"/>
          <p:cNvSpPr txBox="1">
            <a:spLocks noGrp="1"/>
          </p:cNvSpPr>
          <p:nvPr>
            <p:ph type="ctrTitle"/>
          </p:nvPr>
        </p:nvSpPr>
        <p:spPr>
          <a:xfrm>
            <a:off x="341868" y="2612711"/>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6600"/>
              <a:buFont typeface="PT Serif"/>
              <a:buNone/>
              <a:defRPr sz="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33"/>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 name="Google Shape;39;p33"/>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 name="Google Shape;40;p33"/>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5_Two Content">
  <p:cSld name="5_Two Content">
    <p:spTree>
      <p:nvGrpSpPr>
        <p:cNvPr id="1" name="Shape 41"/>
        <p:cNvGrpSpPr/>
        <p:nvPr/>
      </p:nvGrpSpPr>
      <p:grpSpPr>
        <a:xfrm>
          <a:off x="0" y="0"/>
          <a:ext cx="0" cy="0"/>
          <a:chOff x="0" y="0"/>
          <a:chExt cx="0" cy="0"/>
        </a:xfrm>
      </p:grpSpPr>
      <p:sp>
        <p:nvSpPr>
          <p:cNvPr id="42" name="Google Shape;42;p34"/>
          <p:cNvSpPr txBox="1">
            <a:spLocks noGrp="1"/>
          </p:cNvSpPr>
          <p:nvPr>
            <p:ph type="body" idx="1"/>
          </p:nvPr>
        </p:nvSpPr>
        <p:spPr>
          <a:xfrm>
            <a:off x="320245" y="1721708"/>
            <a:ext cx="6311213"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sz="2000"/>
            </a:lvl1pPr>
            <a:lvl2pPr marL="914400" lvl="1" indent="-308610" algn="l">
              <a:lnSpc>
                <a:spcPct val="90000"/>
              </a:lnSpc>
              <a:spcBef>
                <a:spcPts val="500"/>
              </a:spcBef>
              <a:spcAft>
                <a:spcPts val="0"/>
              </a:spcAft>
              <a:buClr>
                <a:schemeClr val="accent2"/>
              </a:buClr>
              <a:buSzPts val="1260"/>
              <a:buFont typeface="Noto Sans Symbols"/>
              <a:buChar char="▪"/>
              <a:defRPr sz="1800"/>
            </a:lvl2pPr>
            <a:lvl3pPr marL="1371600" lvl="2" indent="-299719" algn="l">
              <a:lnSpc>
                <a:spcPct val="90000"/>
              </a:lnSpc>
              <a:spcBef>
                <a:spcPts val="500"/>
              </a:spcBef>
              <a:spcAft>
                <a:spcPts val="0"/>
              </a:spcAft>
              <a:buClr>
                <a:schemeClr val="accent2"/>
              </a:buClr>
              <a:buSzPts val="1120"/>
              <a:buFont typeface="Noto Sans Symbols"/>
              <a:buChar char="▪"/>
              <a:defRPr sz="1600"/>
            </a:lvl3pPr>
            <a:lvl4pPr marL="1828800" lvl="3" indent="-290830" algn="l">
              <a:lnSpc>
                <a:spcPct val="90000"/>
              </a:lnSpc>
              <a:spcBef>
                <a:spcPts val="500"/>
              </a:spcBef>
              <a:spcAft>
                <a:spcPts val="0"/>
              </a:spcAft>
              <a:buClr>
                <a:schemeClr val="accent2"/>
              </a:buClr>
              <a:buSzPts val="980"/>
              <a:buFont typeface="Noto Sans Symbols"/>
              <a:buChar char="▪"/>
              <a:defRPr sz="1400"/>
            </a:lvl4pPr>
            <a:lvl5pPr marL="2286000" lvl="4" indent="-290829" algn="l">
              <a:lnSpc>
                <a:spcPct val="90000"/>
              </a:lnSpc>
              <a:spcBef>
                <a:spcPts val="500"/>
              </a:spcBef>
              <a:spcAft>
                <a:spcPts val="0"/>
              </a:spcAft>
              <a:buClr>
                <a:schemeClr val="accent2"/>
              </a:buClr>
              <a:buSzPts val="980"/>
              <a:buFont typeface="Noto Sans Symbols"/>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 name="Google Shape;43;p34"/>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 name="Google Shape;44;p34"/>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45" name="Google Shape;45;p34"/>
          <p:cNvSpPr>
            <a:spLocks noGrp="1"/>
          </p:cNvSpPr>
          <p:nvPr>
            <p:ph type="pic" idx="2"/>
          </p:nvPr>
        </p:nvSpPr>
        <p:spPr>
          <a:xfrm>
            <a:off x="7372696" y="0"/>
            <a:ext cx="4819304" cy="6858000"/>
          </a:xfrm>
          <a:prstGeom prst="rect">
            <a:avLst/>
          </a:prstGeom>
          <a:noFill/>
          <a:ln>
            <a:noFill/>
          </a:ln>
        </p:spPr>
      </p:sp>
      <p:sp>
        <p:nvSpPr>
          <p:cNvPr id="46" name="Google Shape;46;p34"/>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34"/>
          <p:cNvSpPr txBox="1">
            <a:spLocks noGrp="1"/>
          </p:cNvSpPr>
          <p:nvPr>
            <p:ph type="body" idx="3"/>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b="0" i="0">
                <a:solidFill>
                  <a:schemeClr val="dk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1_Title and Content" type="obj">
  <p:cSld name="OBJECT">
    <p:spTree>
      <p:nvGrpSpPr>
        <p:cNvPr id="1" name="Shape 48"/>
        <p:cNvGrpSpPr/>
        <p:nvPr/>
      </p:nvGrpSpPr>
      <p:grpSpPr>
        <a:xfrm>
          <a:off x="0" y="0"/>
          <a:ext cx="0" cy="0"/>
          <a:chOff x="0" y="0"/>
          <a:chExt cx="0" cy="0"/>
        </a:xfrm>
      </p:grpSpPr>
      <p:sp>
        <p:nvSpPr>
          <p:cNvPr id="49" name="Google Shape;49;p35"/>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 name="Google Shape;50;p35"/>
          <p:cNvSpPr txBox="1">
            <a:spLocks noGrp="1"/>
          </p:cNvSpPr>
          <p:nvPr>
            <p:ph type="body" idx="1"/>
          </p:nvPr>
        </p:nvSpPr>
        <p:spPr>
          <a:xfrm>
            <a:off x="320246" y="1253331"/>
            <a:ext cx="11353800"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 name="Google Shape;51;p35"/>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35"/>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8_Title Slide">
  <p:cSld name="8_Title Slide">
    <p:bg>
      <p:bgPr>
        <a:solidFill>
          <a:srgbClr val="BFE4FF"/>
        </a:solidFill>
        <a:effectLst/>
      </p:bgPr>
    </p:bg>
    <p:spTree>
      <p:nvGrpSpPr>
        <p:cNvPr id="1" name="Shape 53"/>
        <p:cNvGrpSpPr/>
        <p:nvPr/>
      </p:nvGrpSpPr>
      <p:grpSpPr>
        <a:xfrm>
          <a:off x="0" y="0"/>
          <a:ext cx="0" cy="0"/>
          <a:chOff x="0" y="0"/>
          <a:chExt cx="0" cy="0"/>
        </a:xfrm>
      </p:grpSpPr>
      <p:sp>
        <p:nvSpPr>
          <p:cNvPr id="54" name="Google Shape;54;p36"/>
          <p:cNvSpPr txBox="1">
            <a:spLocks noGrp="1"/>
          </p:cNvSpPr>
          <p:nvPr>
            <p:ph type="ctrTitle"/>
          </p:nvPr>
        </p:nvSpPr>
        <p:spPr>
          <a:xfrm>
            <a:off x="341868" y="2612711"/>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 name="Google Shape;55;p36"/>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 name="Google Shape;56;p36"/>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 name="Google Shape;57;p36"/>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58"/>
        <p:cNvGrpSpPr/>
        <p:nvPr/>
      </p:nvGrpSpPr>
      <p:grpSpPr>
        <a:xfrm>
          <a:off x="0" y="0"/>
          <a:ext cx="0" cy="0"/>
          <a:chOff x="0" y="0"/>
          <a:chExt cx="0" cy="0"/>
        </a:xfrm>
      </p:grpSpPr>
      <p:sp>
        <p:nvSpPr>
          <p:cNvPr id="59" name="Google Shape;59;p37"/>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 name="Google Shape;60;p37"/>
          <p:cNvSpPr txBox="1">
            <a:spLocks noGrp="1"/>
          </p:cNvSpPr>
          <p:nvPr>
            <p:ph type="body" idx="1"/>
          </p:nvPr>
        </p:nvSpPr>
        <p:spPr>
          <a:xfrm>
            <a:off x="327000" y="1697046"/>
            <a:ext cx="11353800"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 name="Google Shape;61;p37"/>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2" name="Google Shape;62;p37"/>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3" name="Google Shape;63;p37"/>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64" name="Google Shape;64;p37"/>
          <p:cNvSpPr txBox="1">
            <a:spLocks noGrp="1"/>
          </p:cNvSpPr>
          <p:nvPr>
            <p:ph type="body" idx="2"/>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b="0" i="0">
                <a:solidFill>
                  <a:schemeClr val="dk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6_Title Slide">
  <p:cSld name="6_Title Slide">
    <p:bg>
      <p:bgPr>
        <a:solidFill>
          <a:schemeClr val="accent1"/>
        </a:solidFill>
        <a:effectLst/>
      </p:bgPr>
    </p:bg>
    <p:spTree>
      <p:nvGrpSpPr>
        <p:cNvPr id="1" name="Shape 65"/>
        <p:cNvGrpSpPr/>
        <p:nvPr/>
      </p:nvGrpSpPr>
      <p:grpSpPr>
        <a:xfrm>
          <a:off x="0" y="0"/>
          <a:ext cx="0" cy="0"/>
          <a:chOff x="0" y="0"/>
          <a:chExt cx="0" cy="0"/>
        </a:xfrm>
      </p:grpSpPr>
      <p:sp>
        <p:nvSpPr>
          <p:cNvPr id="66" name="Google Shape;66;p38"/>
          <p:cNvSpPr/>
          <p:nvPr/>
        </p:nvSpPr>
        <p:spPr>
          <a:xfrm rot="10800000" flipH="1">
            <a:off x="0" y="5735636"/>
            <a:ext cx="12192000" cy="1122363"/>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 name="Google Shape;67;p38"/>
          <p:cNvSpPr txBox="1">
            <a:spLocks noGrp="1"/>
          </p:cNvSpPr>
          <p:nvPr>
            <p:ph type="ctrTitle"/>
          </p:nvPr>
        </p:nvSpPr>
        <p:spPr>
          <a:xfrm>
            <a:off x="325391" y="1908431"/>
            <a:ext cx="7830960" cy="1813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lt1"/>
              </a:buClr>
              <a:buSzPts val="6000"/>
              <a:buFont typeface="PT Serif"/>
              <a:buNone/>
              <a:defRPr sz="6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8" name="Google Shape;68;p38"/>
          <p:cNvPicPr preferRelativeResize="0"/>
          <p:nvPr/>
        </p:nvPicPr>
        <p:blipFill rotWithShape="1">
          <a:blip r:embed="rId2">
            <a:alphaModFix/>
          </a:blip>
          <a:srcRect/>
          <a:stretch/>
        </p:blipFill>
        <p:spPr>
          <a:xfrm>
            <a:off x="432486" y="6122767"/>
            <a:ext cx="1873603" cy="415350"/>
          </a:xfrm>
          <a:prstGeom prst="rect">
            <a:avLst/>
          </a:prstGeom>
          <a:noFill/>
          <a:ln>
            <a:noFill/>
          </a:ln>
        </p:spPr>
      </p:pic>
      <p:pic>
        <p:nvPicPr>
          <p:cNvPr id="69" name="Google Shape;69;p38"/>
          <p:cNvPicPr preferRelativeResize="0"/>
          <p:nvPr/>
        </p:nvPicPr>
        <p:blipFill rotWithShape="1">
          <a:blip r:embed="rId3">
            <a:alphaModFix/>
          </a:blip>
          <a:srcRect/>
          <a:stretch/>
        </p:blipFill>
        <p:spPr>
          <a:xfrm>
            <a:off x="10520173" y="6114529"/>
            <a:ext cx="1400131" cy="420040"/>
          </a:xfrm>
          <a:prstGeom prst="rect">
            <a:avLst/>
          </a:prstGeom>
          <a:noFill/>
          <a:ln>
            <a:noFill/>
          </a:ln>
        </p:spPr>
      </p:pic>
      <p:sp>
        <p:nvSpPr>
          <p:cNvPr id="70" name="Google Shape;70;p38"/>
          <p:cNvSpPr txBox="1">
            <a:spLocks noGrp="1"/>
          </p:cNvSpPr>
          <p:nvPr>
            <p:ph type="body" idx="1"/>
          </p:nvPr>
        </p:nvSpPr>
        <p:spPr>
          <a:xfrm>
            <a:off x="341868" y="1493948"/>
            <a:ext cx="7814483"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 name="Google Shape;71;p38"/>
          <p:cNvSpPr txBox="1">
            <a:spLocks noGrp="1"/>
          </p:cNvSpPr>
          <p:nvPr>
            <p:ph type="subTitle" idx="2"/>
          </p:nvPr>
        </p:nvSpPr>
        <p:spPr>
          <a:xfrm>
            <a:off x="341868" y="3993405"/>
            <a:ext cx="52080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000"/>
              <a:buNone/>
              <a:defRPr sz="2000">
                <a:solidFill>
                  <a:schemeClr val="lt1"/>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2" name="Google Shape;72;p38"/>
          <p:cNvSpPr txBox="1">
            <a:spLocks noGrp="1"/>
          </p:cNvSpPr>
          <p:nvPr>
            <p:ph type="dt" idx="10"/>
          </p:nvPr>
        </p:nvSpPr>
        <p:spPr>
          <a:xfrm>
            <a:off x="341868" y="4368504"/>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rgbClr val="D7D9D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A09A772-12FD-42B7-B78A-0555D5231886}"/>
              </a:ext>
            </a:extLst>
          </p:cNvPr>
          <p:cNvGraphicFramePr>
            <a:graphicFrameLocks noChangeAspect="1"/>
          </p:cNvGraphicFramePr>
          <p:nvPr userDrawn="1">
            <p:custDataLst>
              <p:tags r:id="rId27"/>
            </p:custDataLst>
            <p:extLst>
              <p:ext uri="{D42A27DB-BD31-4B8C-83A1-F6EECF244321}">
                <p14:modId xmlns:p14="http://schemas.microsoft.com/office/powerpoint/2010/main" val="3522514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28" imgW="395" imgH="396" progId="TCLayout.ActiveDocument.1">
                  <p:embed/>
                </p:oleObj>
              </mc:Choice>
              <mc:Fallback>
                <p:oleObj name="think-cell Slide" r:id="rId28" imgW="395" imgH="396" progId="TCLayout.ActiveDocument.1">
                  <p:embed/>
                  <p:pic>
                    <p:nvPicPr>
                      <p:cNvPr id="2" name="Object 1" hidden="1">
                        <a:extLst>
                          <a:ext uri="{FF2B5EF4-FFF2-40B4-BE49-F238E27FC236}">
                            <a16:creationId xmlns:a16="http://schemas.microsoft.com/office/drawing/2014/main" id="{2A09A772-12FD-42B7-B78A-0555D5231886}"/>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0" name="Google Shape;10;p29"/>
          <p:cNvSpPr txBox="1">
            <a:spLocks noGrp="1"/>
          </p:cNvSpPr>
          <p:nvPr>
            <p:ph type="title"/>
          </p:nvPr>
        </p:nvSpPr>
        <p:spPr>
          <a:xfrm>
            <a:off x="310376" y="365125"/>
            <a:ext cx="10515600" cy="1325563"/>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0"/>
              </a:spcBef>
              <a:spcAft>
                <a:spcPts val="0"/>
              </a:spcAft>
              <a:buClr>
                <a:schemeClr val="dk1"/>
              </a:buClr>
              <a:buSzPts val="3600"/>
              <a:buFont typeface="PT Serif"/>
              <a:buNone/>
              <a:defRPr sz="3600" b="0" i="0" u="none" strike="noStrike" cap="none">
                <a:solidFill>
                  <a:schemeClr val="dk1"/>
                </a:solidFill>
                <a:latin typeface="PT Serif"/>
                <a:ea typeface="PT Serif"/>
                <a:cs typeface="PT Serif"/>
                <a:sym typeface="PT Serif"/>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9"/>
          <p:cNvSpPr txBox="1">
            <a:spLocks noGrp="1"/>
          </p:cNvSpPr>
          <p:nvPr>
            <p:ph type="body" idx="1"/>
          </p:nvPr>
        </p:nvSpPr>
        <p:spPr>
          <a:xfrm>
            <a:off x="310376" y="1825625"/>
            <a:ext cx="11462524" cy="4351338"/>
          </a:xfrm>
          <a:prstGeom prst="rect">
            <a:avLst/>
          </a:prstGeom>
          <a:noFill/>
          <a:ln>
            <a:noFill/>
          </a:ln>
        </p:spPr>
        <p:txBody>
          <a:bodyPr spcFirstLastPara="1" wrap="square" lIns="91425" tIns="45700" rIns="91425" bIns="45700" anchor="t" anchorCtr="0">
            <a:normAutofit/>
          </a:bodyPr>
          <a:lstStyle>
            <a:lvl1pPr marL="457200" marR="0" lvl="0" indent="-355600" algn="l" rtl="0">
              <a:lnSpc>
                <a:spcPct val="90000"/>
              </a:lnSpc>
              <a:spcBef>
                <a:spcPts val="1000"/>
              </a:spcBef>
              <a:spcAft>
                <a:spcPts val="0"/>
              </a:spcAft>
              <a:buClr>
                <a:schemeClr val="dk2"/>
              </a:buClr>
              <a:buSzPts val="2000"/>
              <a:buFont typeface="Arial"/>
              <a:buChar char="•"/>
              <a:defRPr sz="2000" b="0" i="0" u="none" strike="noStrike" cap="none">
                <a:solidFill>
                  <a:schemeClr val="dk2"/>
                </a:solidFill>
                <a:latin typeface="PT Serif"/>
                <a:ea typeface="PT Serif"/>
                <a:cs typeface="PT Serif"/>
                <a:sym typeface="PT Serif"/>
              </a:defRPr>
            </a:lvl1pPr>
            <a:lvl2pPr marL="914400" marR="0" lvl="1" indent="-342900" algn="l" rtl="0">
              <a:lnSpc>
                <a:spcPct val="90000"/>
              </a:lnSpc>
              <a:spcBef>
                <a:spcPts val="500"/>
              </a:spcBef>
              <a:spcAft>
                <a:spcPts val="0"/>
              </a:spcAft>
              <a:buClr>
                <a:schemeClr val="dk2"/>
              </a:buClr>
              <a:buSzPts val="1800"/>
              <a:buFont typeface="Arial"/>
              <a:buChar char="•"/>
              <a:defRPr sz="1800" b="0" i="0" u="none" strike="noStrike" cap="none">
                <a:solidFill>
                  <a:schemeClr val="dk2"/>
                </a:solidFill>
                <a:latin typeface="PT Serif"/>
                <a:ea typeface="PT Serif"/>
                <a:cs typeface="PT Serif"/>
                <a:sym typeface="PT Serif"/>
              </a:defRPr>
            </a:lvl2pPr>
            <a:lvl3pPr marL="1371600" marR="0" lvl="2" indent="-330200" algn="l" rtl="0">
              <a:lnSpc>
                <a:spcPct val="90000"/>
              </a:lnSpc>
              <a:spcBef>
                <a:spcPts val="500"/>
              </a:spcBef>
              <a:spcAft>
                <a:spcPts val="0"/>
              </a:spcAft>
              <a:buClr>
                <a:schemeClr val="dk2"/>
              </a:buClr>
              <a:buSzPts val="1600"/>
              <a:buFont typeface="Arial"/>
              <a:buChar char="•"/>
              <a:defRPr sz="1600" b="0" i="0" u="none" strike="noStrike" cap="none">
                <a:solidFill>
                  <a:schemeClr val="dk2"/>
                </a:solidFill>
                <a:latin typeface="PT Serif"/>
                <a:ea typeface="PT Serif"/>
                <a:cs typeface="PT Serif"/>
                <a:sym typeface="PT Serif"/>
              </a:defRPr>
            </a:lvl3pPr>
            <a:lvl4pPr marL="1828800" marR="0" lvl="3" indent="-317500" algn="l" rtl="0">
              <a:lnSpc>
                <a:spcPct val="90000"/>
              </a:lnSpc>
              <a:spcBef>
                <a:spcPts val="500"/>
              </a:spcBef>
              <a:spcAft>
                <a:spcPts val="0"/>
              </a:spcAft>
              <a:buClr>
                <a:schemeClr val="dk2"/>
              </a:buClr>
              <a:buSzPts val="1400"/>
              <a:buFont typeface="Arial"/>
              <a:buChar char="•"/>
              <a:defRPr sz="1400" b="0" i="0" u="none" strike="noStrike" cap="none">
                <a:solidFill>
                  <a:schemeClr val="dk2"/>
                </a:solidFill>
                <a:latin typeface="PT Serif"/>
                <a:ea typeface="PT Serif"/>
                <a:cs typeface="PT Serif"/>
                <a:sym typeface="PT Serif"/>
              </a:defRPr>
            </a:lvl4pPr>
            <a:lvl5pPr marL="2286000" marR="0" lvl="4" indent="-317500" algn="l" rtl="0">
              <a:lnSpc>
                <a:spcPct val="90000"/>
              </a:lnSpc>
              <a:spcBef>
                <a:spcPts val="500"/>
              </a:spcBef>
              <a:spcAft>
                <a:spcPts val="0"/>
              </a:spcAft>
              <a:buClr>
                <a:schemeClr val="dk2"/>
              </a:buClr>
              <a:buSzPts val="1400"/>
              <a:buFont typeface="Arial"/>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29"/>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A8A8A"/>
                </a:solidFill>
                <a:latin typeface="Source Sans Pro"/>
                <a:ea typeface="Source Sans Pro"/>
                <a:cs typeface="Source Sans Pro"/>
                <a:sym typeface="Source Sans Pr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29"/>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marR="0" lvl="0" algn="r" rtl="0">
              <a:spcBef>
                <a:spcPts val="0"/>
              </a:spcBef>
              <a:spcAft>
                <a:spcPts val="0"/>
              </a:spcAft>
              <a:buSzPts val="1400"/>
              <a:buNone/>
              <a:defRPr sz="1200" b="0" i="0" u="none" strike="noStrike" cap="none">
                <a:solidFill>
                  <a:srgbClr val="8A8A8A"/>
                </a:solidFill>
                <a:latin typeface="Source Sans Pro"/>
                <a:ea typeface="Source Sans Pro"/>
                <a:cs typeface="Source Sans Pro"/>
                <a:sym typeface="Source Sans Pr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29"/>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A8A8A"/>
                </a:solidFill>
                <a:latin typeface="Source Sans Pro"/>
                <a:ea typeface="Source Sans Pro"/>
                <a:cs typeface="Source Sans Pro"/>
                <a:sym typeface="Source Sans Pro"/>
              </a:defRPr>
            </a:lvl1pPr>
            <a:lvl2pPr marL="0" marR="0" lvl="1" indent="0" algn="r" rtl="0">
              <a:spcBef>
                <a:spcPts val="0"/>
              </a:spcBef>
              <a:buNone/>
              <a:defRPr sz="1200" b="0" i="0" u="none" strike="noStrike" cap="none">
                <a:solidFill>
                  <a:srgbClr val="8A8A8A"/>
                </a:solidFill>
                <a:latin typeface="Source Sans Pro"/>
                <a:ea typeface="Source Sans Pro"/>
                <a:cs typeface="Source Sans Pro"/>
                <a:sym typeface="Source Sans Pro"/>
              </a:defRPr>
            </a:lvl2pPr>
            <a:lvl3pPr marL="0" marR="0" lvl="2" indent="0" algn="r" rtl="0">
              <a:spcBef>
                <a:spcPts val="0"/>
              </a:spcBef>
              <a:buNone/>
              <a:defRPr sz="1200" b="0" i="0" u="none" strike="noStrike" cap="none">
                <a:solidFill>
                  <a:srgbClr val="8A8A8A"/>
                </a:solidFill>
                <a:latin typeface="Source Sans Pro"/>
                <a:ea typeface="Source Sans Pro"/>
                <a:cs typeface="Source Sans Pro"/>
                <a:sym typeface="Source Sans Pro"/>
              </a:defRPr>
            </a:lvl3pPr>
            <a:lvl4pPr marL="0" marR="0" lvl="3" indent="0" algn="r" rtl="0">
              <a:spcBef>
                <a:spcPts val="0"/>
              </a:spcBef>
              <a:buNone/>
              <a:defRPr sz="1200" b="0" i="0" u="none" strike="noStrike" cap="none">
                <a:solidFill>
                  <a:srgbClr val="8A8A8A"/>
                </a:solidFill>
                <a:latin typeface="Source Sans Pro"/>
                <a:ea typeface="Source Sans Pro"/>
                <a:cs typeface="Source Sans Pro"/>
                <a:sym typeface="Source Sans Pro"/>
              </a:defRPr>
            </a:lvl4pPr>
            <a:lvl5pPr marL="0" marR="0" lvl="4" indent="0" algn="r" rtl="0">
              <a:spcBef>
                <a:spcPts val="0"/>
              </a:spcBef>
              <a:buNone/>
              <a:defRPr sz="1200" b="0" i="0" u="none" strike="noStrike" cap="none">
                <a:solidFill>
                  <a:srgbClr val="8A8A8A"/>
                </a:solidFill>
                <a:latin typeface="Source Sans Pro"/>
                <a:ea typeface="Source Sans Pro"/>
                <a:cs typeface="Source Sans Pro"/>
                <a:sym typeface="Source Sans Pro"/>
              </a:defRPr>
            </a:lvl5pPr>
            <a:lvl6pPr marL="0" marR="0" lvl="5" indent="0" algn="r" rtl="0">
              <a:spcBef>
                <a:spcPts val="0"/>
              </a:spcBef>
              <a:buNone/>
              <a:defRPr sz="1200" b="0" i="0" u="none" strike="noStrike" cap="none">
                <a:solidFill>
                  <a:srgbClr val="8A8A8A"/>
                </a:solidFill>
                <a:latin typeface="Source Sans Pro"/>
                <a:ea typeface="Source Sans Pro"/>
                <a:cs typeface="Source Sans Pro"/>
                <a:sym typeface="Source Sans Pro"/>
              </a:defRPr>
            </a:lvl6pPr>
            <a:lvl7pPr marL="0" marR="0" lvl="6" indent="0" algn="r" rtl="0">
              <a:spcBef>
                <a:spcPts val="0"/>
              </a:spcBef>
              <a:buNone/>
              <a:defRPr sz="1200" b="0" i="0" u="none" strike="noStrike" cap="none">
                <a:solidFill>
                  <a:srgbClr val="8A8A8A"/>
                </a:solidFill>
                <a:latin typeface="Source Sans Pro"/>
                <a:ea typeface="Source Sans Pro"/>
                <a:cs typeface="Source Sans Pro"/>
                <a:sym typeface="Source Sans Pro"/>
              </a:defRPr>
            </a:lvl7pPr>
            <a:lvl8pPr marL="0" marR="0" lvl="7" indent="0" algn="r" rtl="0">
              <a:spcBef>
                <a:spcPts val="0"/>
              </a:spcBef>
              <a:buNone/>
              <a:defRPr sz="1200" b="0" i="0" u="none" strike="noStrike" cap="none">
                <a:solidFill>
                  <a:srgbClr val="8A8A8A"/>
                </a:solidFill>
                <a:latin typeface="Source Sans Pro"/>
                <a:ea typeface="Source Sans Pro"/>
                <a:cs typeface="Source Sans Pro"/>
                <a:sym typeface="Source Sans Pro"/>
              </a:defRPr>
            </a:lvl8pPr>
            <a:lvl9pPr marL="0" marR="0" lvl="8" indent="0" algn="r" rtl="0">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5" r:id="rId16"/>
    <p:sldLayoutId id="2147483666" r:id="rId17"/>
    <p:sldLayoutId id="2147483667" r:id="rId18"/>
    <p:sldLayoutId id="2147483668" r:id="rId19"/>
    <p:sldLayoutId id="2147483669" r:id="rId20"/>
    <p:sldLayoutId id="2147483670" r:id="rId21"/>
    <p:sldLayoutId id="2147483671" r:id="rId22"/>
    <p:sldLayoutId id="2147483672" r:id="rId23"/>
    <p:sldLayoutId id="2147483673" r:id="rId2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40">
          <p15:clr>
            <a:srgbClr val="F26B43"/>
          </p15:clr>
        </p15:guide>
        <p15:guide id="2" pos="264">
          <p15:clr>
            <a:srgbClr val="F26B43"/>
          </p15:clr>
        </p15:guide>
        <p15:guide id="3" pos="741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pp.zenhub.com/workspaces/1095b-tax-form-61e19735167b2500170b2146/issues/department-of-veterans-affairs/va.gov-team/38392"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36.png"/><Relationship Id="rId5" Type="http://schemas.openxmlformats.org/officeDocument/2006/relationships/hyperlink" Target="https://dsva.slack.com/archives/C02TUH5U3HS/p1649123457144739" TargetMode="External"/><Relationship Id="rId4" Type="http://schemas.openxmlformats.org/officeDocument/2006/relationships/hyperlink" Target="https://app.zenhub.com/workspaces/1095b-tax-form-61e19735167b2500170b2146/issues/department-of-veterans-affairs/va.gov-team/38709"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s://github.com/department-of-veterans-affairs/vets-api/pull/9457" TargetMode="External"/><Relationship Id="rId13" Type="http://schemas.openxmlformats.org/officeDocument/2006/relationships/image" Target="../media/image38.png"/><Relationship Id="rId3" Type="http://schemas.openxmlformats.org/officeDocument/2006/relationships/hyperlink" Target="https://app.zenhub.com/workspaces/1095b-tax-form-61e19735167b2500170b2146/issues/department-of-veterans-affairs/va.gov-team/39227" TargetMode="External"/><Relationship Id="rId7" Type="http://schemas.openxmlformats.org/officeDocument/2006/relationships/hyperlink" Target="https://app.zenhub.com/workspaces/1095b-tax-form-61e19735167b2500170b2146/issues/department-of-veterans-affairs/va.gov-team/38351" TargetMode="External"/><Relationship Id="rId12"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hyperlink" Target="https://app.zenhub.com/workspaces/1095b-tax-form-61e19735167b2500170b2146/issues/department-of-veterans-affairs/va.gov-team/39290" TargetMode="External"/><Relationship Id="rId11" Type="http://schemas.openxmlformats.org/officeDocument/2006/relationships/hyperlink" Target="https://github.com/department-of-veterans-affairs/vets-website/pull/20693" TargetMode="External"/><Relationship Id="rId5" Type="http://schemas.openxmlformats.org/officeDocument/2006/relationships/hyperlink" Target="https://app.zenhub.com/workspaces/1095b-tax-form-61e19735167b2500170b2146/issues/department-of-veterans-affairs/va.gov-team/38097" TargetMode="External"/><Relationship Id="rId10" Type="http://schemas.openxmlformats.org/officeDocument/2006/relationships/hyperlink" Target="https://github.com/department-of-veterans-affairs/vets-api/pull/9430" TargetMode="External"/><Relationship Id="rId4" Type="http://schemas.openxmlformats.org/officeDocument/2006/relationships/hyperlink" Target="https://app.zenhub.com/workspaces/1095b-tax-form-61e19735167b2500170b2146/issues/department-of-veterans-affairs/va.gov-team/39226" TargetMode="External"/><Relationship Id="rId9" Type="http://schemas.openxmlformats.org/officeDocument/2006/relationships/hyperlink" Target="https://github.com/department-of-veterans-affairs/vets-api/pull/9423" TargetMode="External"/></Relationships>
</file>

<file path=ppt/slides/_rels/slide12.xml.rels><?xml version="1.0" encoding="UTF-8" standalone="yes"?>
<Relationships xmlns="http://schemas.openxmlformats.org/package/2006/relationships"><Relationship Id="rId8" Type="http://schemas.openxmlformats.org/officeDocument/2006/relationships/hyperlink" Target="https://app.zenhub.com/workspaces/1095b-tax-form-61e19735167b2500170b2146/issues/department-of-veterans-affairs/va.gov-team/38387" TargetMode="External"/><Relationship Id="rId13" Type="http://schemas.openxmlformats.org/officeDocument/2006/relationships/hyperlink" Target="https://depo-platform-documentation.scrollhelp.site/developer-docs/How-to-request-support-from-VA-508-Office.1857913061.html" TargetMode="External"/><Relationship Id="rId3" Type="http://schemas.openxmlformats.org/officeDocument/2006/relationships/slideLayout" Target="../slideLayouts/slideLayout6.xml"/><Relationship Id="rId7" Type="http://schemas.openxmlformats.org/officeDocument/2006/relationships/hyperlink" Target="https://app.zenhub.com/workspaces/1095b-tax-form-61e19735167b2500170b2146/issues/department-of-veterans-affairs/va.gov-team/38267" TargetMode="External"/><Relationship Id="rId12" Type="http://schemas.openxmlformats.org/officeDocument/2006/relationships/hyperlink" Target="https://github.com/department-of-veterans-affairs/va.gov-team/blob/master/products/health-care/1095b-tax-form/product/Accessiblity/Accessibility%20check%20new%20IRS%20document%203.25.2022.pdf" TargetMode="Externa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11" Type="http://schemas.openxmlformats.org/officeDocument/2006/relationships/image" Target="../media/image39.png"/><Relationship Id="rId5" Type="http://schemas.openxmlformats.org/officeDocument/2006/relationships/oleObject" Target="../embeddings/oleObject4.bin"/><Relationship Id="rId10" Type="http://schemas.openxmlformats.org/officeDocument/2006/relationships/hyperlink" Target="https://app.zenhub.com/workspaces/1095b-tax-form-61e19735167b2500170b2146/issues/department-of-veterans-affairs/va.gov-team/39304" TargetMode="External"/><Relationship Id="rId4" Type="http://schemas.openxmlformats.org/officeDocument/2006/relationships/notesSlide" Target="../notesSlides/notesSlide12.xml"/><Relationship Id="rId9" Type="http://schemas.openxmlformats.org/officeDocument/2006/relationships/hyperlink" Target="https://app.zenhub.com/workspaces/1095b-tax-form-61e19735167b2500170b2146/issues/department-of-veterans-affairs/va.gov-team/38903"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vajira.max.gov/servicedesk/customer/portal/12/CMDMRP-2269" TargetMode="External"/><Relationship Id="rId13" Type="http://schemas.openxmlformats.org/officeDocument/2006/relationships/hyperlink" Target="https://va.gov/profile/notifications" TargetMode="External"/><Relationship Id="rId3" Type="http://schemas.openxmlformats.org/officeDocument/2006/relationships/slideLayout" Target="../slideLayouts/slideLayout6.xml"/><Relationship Id="rId7" Type="http://schemas.openxmlformats.org/officeDocument/2006/relationships/hyperlink" Target="https://github.com/department-of-veterans-affairs/va.gov-team/blob/master/products/health-care/1095b-tax-form/Content/VA%20Notify/DRAFT%201095-B%20VANotify%20templates.docx" TargetMode="External"/><Relationship Id="rId12" Type="http://schemas.openxmlformats.org/officeDocument/2006/relationships/hyperlink" Target="https://www.va.gov/records/download-your-irs-1095-b" TargetMode="Externa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11" Type="http://schemas.openxmlformats.org/officeDocument/2006/relationships/hyperlink" Target="https://app.zenhub.com/workspaces/1095b-tax-form-61e19735167b2500170b2146/issues/department-of-veterans-affairs/va.gov-team/39446" TargetMode="External"/><Relationship Id="rId5" Type="http://schemas.openxmlformats.org/officeDocument/2006/relationships/oleObject" Target="../embeddings/oleObject4.bin"/><Relationship Id="rId10" Type="http://schemas.openxmlformats.org/officeDocument/2006/relationships/hyperlink" Target="https://app.zenhub.com/workspaces/1095b-tax-form-61e19735167b2500170b2146/issues/department-of-veterans-affairs/va.gov-team/39020" TargetMode="External"/><Relationship Id="rId4" Type="http://schemas.openxmlformats.org/officeDocument/2006/relationships/notesSlide" Target="../notesSlides/notesSlide13.xml"/><Relationship Id="rId9" Type="http://schemas.openxmlformats.org/officeDocument/2006/relationships/hyperlink" Target="https://github.com/department-of-veterans-affairs/va.gov-team/blob/master/products/health-care/1095b-tax-form/post-MVP%20future%20opt-in%20considerations/email%20update%20regarding%20VA%20Profile%20opt-in%20ticket%204.4.2022.pdf" TargetMode="External"/><Relationship Id="rId14"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6.xml"/><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image" Target="../media/image21.jpeg"/><Relationship Id="rId3" Type="http://schemas.openxmlformats.org/officeDocument/2006/relationships/image" Target="../media/image11.jpeg"/><Relationship Id="rId7" Type="http://schemas.openxmlformats.org/officeDocument/2006/relationships/image" Target="../media/image15.jpeg"/><Relationship Id="rId12" Type="http://schemas.openxmlformats.org/officeDocument/2006/relationships/image" Target="../media/image20.jpeg"/><Relationship Id="rId2" Type="http://schemas.openxmlformats.org/officeDocument/2006/relationships/notesSlide" Target="../notesSlides/notesSlide2.xml"/><Relationship Id="rId16" Type="http://schemas.openxmlformats.org/officeDocument/2006/relationships/image" Target="../media/image24.jpeg"/><Relationship Id="rId1" Type="http://schemas.openxmlformats.org/officeDocument/2006/relationships/slideLayout" Target="../slideLayouts/slideLayout2.xml"/><Relationship Id="rId6" Type="http://schemas.openxmlformats.org/officeDocument/2006/relationships/image" Target="../media/image14.jpeg"/><Relationship Id="rId11" Type="http://schemas.openxmlformats.org/officeDocument/2006/relationships/image" Target="../media/image19.jpeg"/><Relationship Id="rId5" Type="http://schemas.openxmlformats.org/officeDocument/2006/relationships/image" Target="../media/image13.jpeg"/><Relationship Id="rId15" Type="http://schemas.openxmlformats.org/officeDocument/2006/relationships/image" Target="../media/image23.jpeg"/><Relationship Id="rId10" Type="http://schemas.openxmlformats.org/officeDocument/2006/relationships/image" Target="../media/image18.jpeg"/><Relationship Id="rId4" Type="http://schemas.openxmlformats.org/officeDocument/2006/relationships/image" Target="../media/image12.png"/><Relationship Id="rId9" Type="http://schemas.openxmlformats.org/officeDocument/2006/relationships/image" Target="../media/image17.jpeg"/><Relationship Id="rId14" Type="http://schemas.openxmlformats.org/officeDocument/2006/relationships/image" Target="../media/image22.jpeg"/></Relationships>
</file>

<file path=ppt/slides/_rels/slide20.xml.rels><?xml version="1.0" encoding="UTF-8" standalone="yes"?>
<Relationships xmlns="http://schemas.openxmlformats.org/package/2006/relationships"><Relationship Id="rId2" Type="http://schemas.openxmlformats.org/officeDocument/2006/relationships/hyperlink" Target="https://app.zenhub.com/workspaces/1095b-tax-form-61e19735167b2500170b2146/issues/department-of-veterans-affairs/va.gov-team/39071" TargetMode="Externa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hyperlink" Target="https://app.zenhub.com/workspaces/1095b-tax-form-61e19735167b2500170b2146/issues/department-of-veterans-affairs/va.gov-team/39072" TargetMode="External"/><Relationship Id="rId2" Type="http://schemas.openxmlformats.org/officeDocument/2006/relationships/image" Target="../media/image42.png"/><Relationship Id="rId1" Type="http://schemas.openxmlformats.org/officeDocument/2006/relationships/slideLayout" Target="../slideLayouts/slideLayout6.xml"/><Relationship Id="rId5" Type="http://schemas.openxmlformats.org/officeDocument/2006/relationships/hyperlink" Target="https://github.com/department-of-veterans-affairs/va.gov-team/blob/master/products/health-care/1095b-tax-form/design/Care%20in%20Community%20interim%20work/V2%20CC%20Journey-040522.pdf" TargetMode="External"/><Relationship Id="rId4" Type="http://schemas.openxmlformats.org/officeDocument/2006/relationships/hyperlink" Target="https://app.zenhub.com/workspaces/1095b-tax-form-61e19735167b2500170b2146/issues/department-of-veterans-affairs/va.gov-team/39071"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app.zenhub.com/workspaces/1095b-tax-form-61e19735167b2500170b2146/issues/department-of-veterans-affairs/va.gov-team/39177" TargetMode="External"/><Relationship Id="rId2" Type="http://schemas.openxmlformats.org/officeDocument/2006/relationships/hyperlink" Target="https://app.zenhub.com/workspaces/1095b-tax-form-61e19735167b2500170b2146/issues/department-of-veterans-affairs/va.gov-team/39072" TargetMode="External"/><Relationship Id="rId1" Type="http://schemas.openxmlformats.org/officeDocument/2006/relationships/slideLayout" Target="../slideLayouts/slideLayout6.xml"/><Relationship Id="rId6" Type="http://schemas.openxmlformats.org/officeDocument/2006/relationships/hyperlink" Target="https://dvagov.sharepoint.com/sites/OITEPMOHealth/cc/Arch/SitePages/CC_Products_and_HLIDs.aspx" TargetMode="External"/><Relationship Id="rId5" Type="http://schemas.openxmlformats.org/officeDocument/2006/relationships/image" Target="../media/image43.png"/><Relationship Id="rId4" Type="http://schemas.openxmlformats.org/officeDocument/2006/relationships/hyperlink" Target="https://app.zenhub.com/workspaces/1095b-tax-form-61e19735167b2500170b2146/issues/department-of-veterans-affairs/va.gov-team/39176"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8" Type="http://schemas.openxmlformats.org/officeDocument/2006/relationships/hyperlink" Target="https://github.com/department-of-veterans-affairs/va.gov-team/blob/master/products/health-care/1095b-tax-form/Final%20documents/HEC/HEC%20call%20center%201095-B%20FAQ%204.4.22.docx" TargetMode="External"/><Relationship Id="rId13" Type="http://schemas.openxmlformats.org/officeDocument/2006/relationships/hyperlink" Target="https://app.zenhub.com/workspaces/1095b-tax-form-61e19735167b2500170b2146/issues/department-of-veterans-affairs/va.gov-team/38038" TargetMode="External"/><Relationship Id="rId18" Type="http://schemas.openxmlformats.org/officeDocument/2006/relationships/hyperlink" Target="https://app.zenhub.com/workspaces/1095b-tax-form-61e19735167b2500170b2146/issues/department-of-veterans-affairs/va.gov-team/38902" TargetMode="External"/><Relationship Id="rId26" Type="http://schemas.openxmlformats.org/officeDocument/2006/relationships/hyperlink" Target="https://github.com/department-of-veterans-affairs/va.gov-team/blob/master/products/health-care/1095b-tax-form/Content/VA%20Notify/DRAFT%201095-B%20VANotify%20templates.docx" TargetMode="External"/><Relationship Id="rId3" Type="http://schemas.openxmlformats.org/officeDocument/2006/relationships/slideLayout" Target="../slideLayouts/slideLayout2.xml"/><Relationship Id="rId21" Type="http://schemas.openxmlformats.org/officeDocument/2006/relationships/hyperlink" Target="https://dsva.slack.com/archives/C02TUH5U3HS/p1649117562251479" TargetMode="External"/><Relationship Id="rId7" Type="http://schemas.openxmlformats.org/officeDocument/2006/relationships/hyperlink" Target="https://app.zenhub.com/workspaces/1095b-tax-form-61e19735167b2500170b2146/issues/department-of-veterans-affairs/va.gov-team/39042" TargetMode="External"/><Relationship Id="rId12" Type="http://schemas.openxmlformats.org/officeDocument/2006/relationships/hyperlink" Target="https://github.com/department-of-veterans-affairs/va.gov-team/blob/master/products/health-care/1095b-tax-form/product/DRAFT%20product_guide_-_contact_center_review%20040522%20(1).pdf" TargetMode="External"/><Relationship Id="rId17" Type="http://schemas.openxmlformats.org/officeDocument/2006/relationships/hyperlink" Target="https://github.com/department-of-veterans-affairs/va.gov-team/blob/master/products/health-care/1095b-tax-form/design/designs%20sprint%205/1095-b_Unauthenticated%20state_Mobile%202.pdf" TargetMode="External"/><Relationship Id="rId25" Type="http://schemas.openxmlformats.org/officeDocument/2006/relationships/hyperlink" Target="https://app.zenhub.com/workspaces/1095b-tax-form-61e19735167b2500170b2146/issues/department-of-veterans-affairs/va.gov-team/39446" TargetMode="External"/><Relationship Id="rId2" Type="http://schemas.openxmlformats.org/officeDocument/2006/relationships/tags" Target="../tags/tag9.xml"/><Relationship Id="rId16" Type="http://schemas.openxmlformats.org/officeDocument/2006/relationships/hyperlink" Target="https://github.com/department-of-veterans-affairs/va.gov-team/blob/master/products/health-care/1095b-tax-form/design/designs%20sprint%205/1095-b_Technical%20error_Mobile.pdf" TargetMode="External"/><Relationship Id="rId20" Type="http://schemas.openxmlformats.org/officeDocument/2006/relationships/hyperlink" Target="https://app.zenhub.com/workspaces/1095b-tax-form-61e19735167b2500170b2146/issues/department-of-veterans-affairs/va.gov-team/39172" TargetMode="External"/><Relationship Id="rId1" Type="http://schemas.openxmlformats.org/officeDocument/2006/relationships/vmlDrawing" Target="../drawings/vmlDrawing8.vml"/><Relationship Id="rId6" Type="http://schemas.openxmlformats.org/officeDocument/2006/relationships/image" Target="../media/image1.emf"/><Relationship Id="rId11" Type="http://schemas.openxmlformats.org/officeDocument/2006/relationships/hyperlink" Target="https://app.zenhub.com/workspaces/1095b-tax-form-61e19735167b2500170b2146/issues/department-of-veterans-affairs/va.gov-team/38708" TargetMode="External"/><Relationship Id="rId24" Type="http://schemas.openxmlformats.org/officeDocument/2006/relationships/hyperlink" Target="https://app.zenhub.com/workspaces/1095b-tax-form-61e19735167b2500170b2146/issues/department-of-veterans-affairs/va.gov-team/38709" TargetMode="External"/><Relationship Id="rId5" Type="http://schemas.openxmlformats.org/officeDocument/2006/relationships/oleObject" Target="../embeddings/oleObject7.bin"/><Relationship Id="rId15" Type="http://schemas.openxmlformats.org/officeDocument/2006/relationships/hyperlink" Target="https://github.com/department-of-veterans-affairs/va.gov-team/blob/master/products/health-care/1095b-tax-form/design/designs%20sprint%205/1095-b_Success_Mobile.pdf" TargetMode="External"/><Relationship Id="rId23" Type="http://schemas.openxmlformats.org/officeDocument/2006/relationships/hyperlink" Target="https://dsva.slack.com/archives/C02TUH5U3HS/p1649123457144739" TargetMode="External"/><Relationship Id="rId10" Type="http://schemas.openxmlformats.org/officeDocument/2006/relationships/hyperlink" Target="https://github.com/department-of-veterans-affairs/va.gov-team/blob/master/products/health-care/1095b-tax-form/Final%20documents/HEC/HEC%20call%20center%201095-B%20Fact%20Sheet%204.4.22.docx" TargetMode="External"/><Relationship Id="rId19" Type="http://schemas.openxmlformats.org/officeDocument/2006/relationships/hyperlink" Target="https://app.zenhub.com/workspaces/1095b-tax-form-61e19735167b2500170b2146/issues/department-of-veterans-affairs/va.gov-team/39275" TargetMode="External"/><Relationship Id="rId4" Type="http://schemas.openxmlformats.org/officeDocument/2006/relationships/notesSlide" Target="../notesSlides/notesSlide17.xml"/><Relationship Id="rId9" Type="http://schemas.openxmlformats.org/officeDocument/2006/relationships/hyperlink" Target="https://github.com/department-of-veterans-affairs/va.gov-team/blob/master/products/health-care/1095b-tax-form/Final%20documents/HEC/HEC%20call%20center%201095-B%20User%20Guide%204.4.22.docx" TargetMode="External"/><Relationship Id="rId14" Type="http://schemas.openxmlformats.org/officeDocument/2006/relationships/hyperlink" Target="https://github.com/department-of-veterans-affairs/va.gov-team/blob/master/products/health-care/1095b-tax-form/design/designs%20sprint%205/1095-b_No%201095-B%20Available_Mobile.pdf" TargetMode="External"/><Relationship Id="rId22" Type="http://schemas.openxmlformats.org/officeDocument/2006/relationships/hyperlink" Target="https://app.zenhub.com/workspaces/1095b-tax-form-61e19735167b2500170b2146/issues/department-of-veterans-affairs/va.gov-team/38392" TargetMode="External"/></Relationships>
</file>

<file path=ppt/slides/_rels/slide25.xml.rels><?xml version="1.0" encoding="UTF-8" standalone="yes"?>
<Relationships xmlns="http://schemas.openxmlformats.org/package/2006/relationships"><Relationship Id="rId8" Type="http://schemas.openxmlformats.org/officeDocument/2006/relationships/hyperlink" Target="https://github.com/department-of-veterans-affairs/vets-api/pull/9457" TargetMode="External"/><Relationship Id="rId13" Type="http://schemas.openxmlformats.org/officeDocument/2006/relationships/hyperlink" Target="https://github.com/department-of-veterans-affairs/vets-website/pull/20619/" TargetMode="External"/><Relationship Id="rId18" Type="http://schemas.openxmlformats.org/officeDocument/2006/relationships/hyperlink" Target="https://app.zenhub.com/workspaces/1095b-tax-form-61e19735167b2500170b2146/issues/department-of-veterans-affairs/va.gov-team/38387" TargetMode="External"/><Relationship Id="rId3" Type="http://schemas.openxmlformats.org/officeDocument/2006/relationships/slideLayout" Target="../slideLayouts/slideLayout2.xml"/><Relationship Id="rId7" Type="http://schemas.openxmlformats.org/officeDocument/2006/relationships/hyperlink" Target="https://app.zenhub.com/workspaces/1095b-tax-form-61e19735167b2500170b2146/issues/department-of-veterans-affairs/va.gov-team/39227" TargetMode="External"/><Relationship Id="rId12" Type="http://schemas.openxmlformats.org/officeDocument/2006/relationships/hyperlink" Target="https://app.zenhub.com/workspaces/1095b-tax-form-61e19735167b2500170b2146/issues/department-of-veterans-affairs/va.gov-team/38097" TargetMode="External"/><Relationship Id="rId17" Type="http://schemas.openxmlformats.org/officeDocument/2006/relationships/hyperlink" Target="https://github.com/department-of-veterans-affairs/va.gov-team/blob/master/products/health-care/1095b-tax-form/product/Accessiblity/Accessibility%20check%20new%20IRS%20document%203.25.2022.pdf" TargetMode="External"/><Relationship Id="rId2" Type="http://schemas.openxmlformats.org/officeDocument/2006/relationships/tags" Target="../tags/tag10.xml"/><Relationship Id="rId16" Type="http://schemas.openxmlformats.org/officeDocument/2006/relationships/hyperlink" Target="https://app.zenhub.com/workspaces/1095b-tax-form-61e19735167b2500170b2146/issues/department-of-veterans-affairs/va.gov-team/38267" TargetMode="External"/><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hyperlink" Target="https://app.zenhub.com/workspaces/1095b-tax-form-61e19735167b2500170b2146/issues/department-of-veterans-affairs/va.gov-team/39226" TargetMode="External"/><Relationship Id="rId5" Type="http://schemas.openxmlformats.org/officeDocument/2006/relationships/oleObject" Target="../embeddings/oleObject7.bin"/><Relationship Id="rId15" Type="http://schemas.openxmlformats.org/officeDocument/2006/relationships/hyperlink" Target="https://app.zenhub.com/workspaces/1095b-tax-form-61e19735167b2500170b2146/issues/department-of-veterans-affairs/va.gov-team/39290" TargetMode="External"/><Relationship Id="rId10" Type="http://schemas.openxmlformats.org/officeDocument/2006/relationships/hyperlink" Target="https://github.com/department-of-veterans-affairs/vets-api/pull/9430" TargetMode="External"/><Relationship Id="rId4" Type="http://schemas.openxmlformats.org/officeDocument/2006/relationships/notesSlide" Target="../notesSlides/notesSlide18.xml"/><Relationship Id="rId9" Type="http://schemas.openxmlformats.org/officeDocument/2006/relationships/hyperlink" Target="https://github.com/department-of-veterans-affairs/vets-api/pull/9423" TargetMode="External"/><Relationship Id="rId14" Type="http://schemas.openxmlformats.org/officeDocument/2006/relationships/hyperlink" Target="https://github.com/department-of-veterans-affairs/vets-website/pull/20693" TargetMode="External"/></Relationships>
</file>

<file path=ppt/slides/_rels/slide26.xml.rels><?xml version="1.0" encoding="UTF-8" standalone="yes"?>
<Relationships xmlns="http://schemas.openxmlformats.org/package/2006/relationships"><Relationship Id="rId8" Type="http://schemas.openxmlformats.org/officeDocument/2006/relationships/hyperlink" Target="https://depo-platform-documentation.scrollhelp.site/developer-docs/How-to-request-support-from-VA-508-Office.1857913061.html" TargetMode="External"/><Relationship Id="rId13" Type="http://schemas.openxmlformats.org/officeDocument/2006/relationships/hyperlink" Target="https://vajira.max.gov/servicedesk/customer/portal/12/CMDMRP-2269" TargetMode="External"/><Relationship Id="rId3" Type="http://schemas.openxmlformats.org/officeDocument/2006/relationships/slideLayout" Target="../slideLayouts/slideLayout2.xml"/><Relationship Id="rId7" Type="http://schemas.openxmlformats.org/officeDocument/2006/relationships/hyperlink" Target="https://app.zenhub.com/workspaces/1095b-tax-form-61e19735167b2500170b2146/issues/department-of-veterans-affairs/va.gov-team/38903" TargetMode="External"/><Relationship Id="rId12" Type="http://schemas.openxmlformats.org/officeDocument/2006/relationships/hyperlink" Target="https://app.zenhub.com/workspaces/1095b-tax-form-61e19735167b2500170b2146/issues/department-of-veterans-affairs/va.gov-team/39020" TargetMode="Externa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11" Type="http://schemas.openxmlformats.org/officeDocument/2006/relationships/hyperlink" Target="https://app.zenhub.com/workspaces/1095b-tax-form-61e19735167b2500170b2146/issues/department-of-veterans-affairs/va.gov-team/38039" TargetMode="External"/><Relationship Id="rId5" Type="http://schemas.openxmlformats.org/officeDocument/2006/relationships/oleObject" Target="../embeddings/oleObject7.bin"/><Relationship Id="rId10" Type="http://schemas.openxmlformats.org/officeDocument/2006/relationships/hyperlink" Target="https://app.zenhub.com/workspaces/1095b-tax-form-61e19735167b2500170b2146/issues/department-of-veterans-affairs/va.gov-team/39304" TargetMode="External"/><Relationship Id="rId4" Type="http://schemas.openxmlformats.org/officeDocument/2006/relationships/notesSlide" Target="../notesSlides/notesSlide19.xml"/><Relationship Id="rId9" Type="http://schemas.openxmlformats.org/officeDocument/2006/relationships/hyperlink" Target="https://github.com/department-of-veterans-affairs/va.gov-team/blob/master/products/health-care/1095b-tax-form/product/Accessiblity/Accessibility%20check%20new%20IRS%20document%203.25.2022.pdf" TargetMode="External"/><Relationship Id="rId14" Type="http://schemas.openxmlformats.org/officeDocument/2006/relationships/hyperlink" Target="https://github.com/department-of-veterans-affairs/va.gov-team/blob/master/products/health-care/1095b-tax-form/post-MVP%20future%20opt-in%20considerations/email%20update%20regarding%20VA%20Profile%20opt-in%20ticket%204.4.2022.pdf" TargetMode="External"/></Relationships>
</file>

<file path=ppt/slides/_rels/slide27.xml.rels><?xml version="1.0" encoding="UTF-8" standalone="yes"?>
<Relationships xmlns="http://schemas.openxmlformats.org/package/2006/relationships"><Relationship Id="rId8" Type="http://schemas.openxmlformats.org/officeDocument/2006/relationships/hyperlink" Target="https://github.com/department-of-veterans-affairs/va.gov-team/blob/master/products/health-care/1095b-tax-form/design/Care%20in%20Community%20interim%20work/V2%20CC%20Journey-040522.pdf" TargetMode="External"/><Relationship Id="rId3" Type="http://schemas.openxmlformats.org/officeDocument/2006/relationships/slideLayout" Target="../slideLayouts/slideLayout2.xml"/><Relationship Id="rId7" Type="http://schemas.openxmlformats.org/officeDocument/2006/relationships/hyperlink" Target="https://app.zenhub.com/workspaces/1095b-tax-form-61e19735167b2500170b2146/issues/department-of-veterans-affairs/va.gov-team/39072" TargetMode="External"/><Relationship Id="rId12" Type="http://schemas.openxmlformats.org/officeDocument/2006/relationships/hyperlink" Target="https://app.zenhub.com/workspaces/1095b-tax-form-61e19735167b2500170b2146/issues/department-of-veterans-affairs/va.gov-team/39177" TargetMode="Externa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11" Type="http://schemas.openxmlformats.org/officeDocument/2006/relationships/hyperlink" Target="https://dvagov.sharepoint.com/sites/OITEPMOHealth/cc/Arch/SitePages/CC_Products_and_HLIDs.aspx" TargetMode="External"/><Relationship Id="rId5" Type="http://schemas.openxmlformats.org/officeDocument/2006/relationships/oleObject" Target="../embeddings/oleObject7.bin"/><Relationship Id="rId10" Type="http://schemas.openxmlformats.org/officeDocument/2006/relationships/hyperlink" Target="https://app.zenhub.com/workspaces/1095b-tax-form-61e19735167b2500170b2146/issues/department-of-veterans-affairs/va.gov-team/39176" TargetMode="External"/><Relationship Id="rId4" Type="http://schemas.openxmlformats.org/officeDocument/2006/relationships/notesSlide" Target="../notesSlides/notesSlide20.xml"/><Relationship Id="rId9" Type="http://schemas.openxmlformats.org/officeDocument/2006/relationships/hyperlink" Target="https://app.zenhub.com/workspaces/1095b-tax-form-61e19735167b2500170b2146/issues/department-of-veterans-affairs/va.gov-team/39071"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2.xml"/></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27.png"/><Relationship Id="rId4" Type="http://schemas.openxmlformats.org/officeDocument/2006/relationships/image" Target="../media/image26.png"/></Relationships>
</file>

<file path=ppt/slides/_rels/slide3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5.xml"/><Relationship Id="rId7" Type="http://schemas.openxmlformats.org/officeDocument/2006/relationships/image" Target="../media/image28.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9.bin"/><Relationship Id="rId10" Type="http://schemas.openxmlformats.org/officeDocument/2006/relationships/image" Target="../media/image31.png"/><Relationship Id="rId4" Type="http://schemas.openxmlformats.org/officeDocument/2006/relationships/notesSlide" Target="../notesSlides/notesSlide23.xml"/><Relationship Id="rId9" Type="http://schemas.openxmlformats.org/officeDocument/2006/relationships/image" Target="../media/image30.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5.xml"/><Relationship Id="rId7" Type="http://schemas.openxmlformats.org/officeDocument/2006/relationships/image" Target="../media/image28.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10" Type="http://schemas.openxmlformats.org/officeDocument/2006/relationships/image" Target="../media/image31.png"/><Relationship Id="rId4" Type="http://schemas.openxmlformats.org/officeDocument/2006/relationships/notesSlide" Target="../notesSlides/notesSlide5.xml"/><Relationship Id="rId9" Type="http://schemas.openxmlformats.org/officeDocument/2006/relationships/image" Target="../media/image30.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hyperlink" Target="https://github.com/department-of-veterans-affairs/va.gov-team/blob/master/products/health-care/1095b-tax-form/design/designs%20sprint%205/1095-b_No%201095-B%20Available_Mobile.pdf" TargetMode="External"/><Relationship Id="rId13" Type="http://schemas.openxmlformats.org/officeDocument/2006/relationships/hyperlink" Target="https://app.zenhub.com/workspaces/1095b-tax-form-61e19735167b2500170b2146/issues/department-of-veterans-affairs/va.gov-team/38708" TargetMode="External"/><Relationship Id="rId18" Type="http://schemas.openxmlformats.org/officeDocument/2006/relationships/image" Target="../media/image33.png"/><Relationship Id="rId3" Type="http://schemas.openxmlformats.org/officeDocument/2006/relationships/hyperlink" Target="https://github.com/department-of-veterans-affairs/va.gov-team/blob/master/products/health-care/1095b-tax-form/Final%20documents/HEC/HEC%20call%20center%201095-B%20User%20Guide%204.4.22.docx" TargetMode="External"/><Relationship Id="rId7" Type="http://schemas.openxmlformats.org/officeDocument/2006/relationships/hyperlink" Target="https://github.com/department-of-veterans-affairs/va.gov-team/blob/master/products/health-care/1095b-tax-form/product/DRAFT%20product_guide_-_contact_center_review%20040522%20(1).pdf" TargetMode="External"/><Relationship Id="rId12" Type="http://schemas.openxmlformats.org/officeDocument/2006/relationships/hyperlink" Target="https://app.zenhub.com/workspaces/1095b-tax-form-61e19735167b2500170b2146/issues/department-of-veterans-affairs/va.gov-team/39042" TargetMode="External"/><Relationship Id="rId17" Type="http://schemas.openxmlformats.org/officeDocument/2006/relationships/hyperlink" Target="https://app.zenhub.com/workspaces/1095b-tax-form-61e19735167b2500170b2146/issues/department-of-veterans-affairs/va.gov-team/39172" TargetMode="External"/><Relationship Id="rId2" Type="http://schemas.openxmlformats.org/officeDocument/2006/relationships/notesSlide" Target="../notesSlides/notesSlide9.xml"/><Relationship Id="rId16" Type="http://schemas.openxmlformats.org/officeDocument/2006/relationships/hyperlink" Target="https://app.zenhub.com/workspaces/1095b-tax-form-61e19735167b2500170b2146/issues/department-of-veterans-affairs/va.gov-team/39275" TargetMode="External"/><Relationship Id="rId20" Type="http://schemas.openxmlformats.org/officeDocument/2006/relationships/image" Target="../media/image35.png"/><Relationship Id="rId1" Type="http://schemas.openxmlformats.org/officeDocument/2006/relationships/slideLayout" Target="../slideLayouts/slideLayout6.xml"/><Relationship Id="rId6" Type="http://schemas.openxmlformats.org/officeDocument/2006/relationships/hyperlink" Target="https://dsva.slack.com/archives/C02TUH5U3HS/p1649117562251479" TargetMode="External"/><Relationship Id="rId11" Type="http://schemas.openxmlformats.org/officeDocument/2006/relationships/hyperlink" Target="https://github.com/department-of-veterans-affairs/va.gov-team/blob/master/products/health-care/1095b-tax-form/design/designs%20sprint%205/1095-b_Unauthenticated%20state_Mobile%202.pdf" TargetMode="External"/><Relationship Id="rId5" Type="http://schemas.openxmlformats.org/officeDocument/2006/relationships/hyperlink" Target="https://github.com/department-of-veterans-affairs/va.gov-team/blob/master/products/health-care/1095b-tax-form/Final%20documents/HEC/HEC%20call%20center%201095-B%20FAQ%204.4.22.docx" TargetMode="External"/><Relationship Id="rId15" Type="http://schemas.openxmlformats.org/officeDocument/2006/relationships/hyperlink" Target="https://app.zenhub.com/workspaces/1095b-tax-form-61e19735167b2500170b2146/issues/department-of-veterans-affairs/va.gov-team/38902" TargetMode="External"/><Relationship Id="rId10" Type="http://schemas.openxmlformats.org/officeDocument/2006/relationships/hyperlink" Target="https://github.com/department-of-veterans-affairs/va.gov-team/blob/master/products/health-care/1095b-tax-form/design/designs%20sprint%205/1095-b_Technical%20error_Mobile.pdf" TargetMode="External"/><Relationship Id="rId19" Type="http://schemas.openxmlformats.org/officeDocument/2006/relationships/image" Target="../media/image34.png"/><Relationship Id="rId4" Type="http://schemas.openxmlformats.org/officeDocument/2006/relationships/hyperlink" Target="https://github.com/department-of-veterans-affairs/va.gov-team/blob/master/products/health-care/1095b-tax-form/Final%20documents/HEC/HEC%20call%20center%201095-B%20Fact%20Sheet%204.4.22.docx" TargetMode="External"/><Relationship Id="rId9" Type="http://schemas.openxmlformats.org/officeDocument/2006/relationships/hyperlink" Target="https://github.com/department-of-veterans-affairs/va.gov-team/blob/master/products/health-care/1095b-tax-form/design/designs%20sprint%205/1095-b_Success_Mobile.pdf" TargetMode="External"/><Relationship Id="rId14" Type="http://schemas.openxmlformats.org/officeDocument/2006/relationships/hyperlink" Target="https://app.zenhub.com/workspaces/1095b-tax-form-61e19735167b2500170b2146/issues/department-of-veterans-affairs/va.gov-team/38038"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83"/>
        <p:cNvGrpSpPr/>
        <p:nvPr/>
      </p:nvGrpSpPr>
      <p:grpSpPr>
        <a:xfrm>
          <a:off x="0" y="0"/>
          <a:ext cx="0" cy="0"/>
          <a:chOff x="0" y="0"/>
          <a:chExt cx="0" cy="0"/>
        </a:xfrm>
      </p:grpSpPr>
      <p:sp>
        <p:nvSpPr>
          <p:cNvPr id="184" name="Google Shape;184;p1"/>
          <p:cNvSpPr txBox="1">
            <a:spLocks noGrp="1"/>
          </p:cNvSpPr>
          <p:nvPr>
            <p:ph type="ctrTitle"/>
          </p:nvPr>
        </p:nvSpPr>
        <p:spPr>
          <a:xfrm>
            <a:off x="303123" y="2358316"/>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6600"/>
              <a:buFont typeface="PT Serif"/>
              <a:buNone/>
            </a:pPr>
            <a:r>
              <a:rPr lang="en-US"/>
              <a:t>Sprint 5 Demo</a:t>
            </a:r>
            <a:endParaRPr/>
          </a:p>
        </p:txBody>
      </p:sp>
      <p:sp>
        <p:nvSpPr>
          <p:cNvPr id="185" name="Google Shape;185;p1"/>
          <p:cNvSpPr txBox="1">
            <a:spLocks noGrp="1"/>
          </p:cNvSpPr>
          <p:nvPr>
            <p:ph type="subTitle" idx="1"/>
          </p:nvPr>
        </p:nvSpPr>
        <p:spPr>
          <a:xfrm>
            <a:off x="341868" y="3625768"/>
            <a:ext cx="4852432" cy="365125"/>
          </a:xfrm>
          <a:prstGeom prst="rect">
            <a:avLst/>
          </a:prstGeom>
          <a:noFill/>
          <a:ln>
            <a:noFill/>
          </a:ln>
        </p:spPr>
        <p:txBody>
          <a:bodyPr spcFirstLastPara="1" wrap="square" lIns="91425" tIns="45700" rIns="91425" bIns="45700" anchor="t" anchorCtr="0">
            <a:normAutofit lnSpcReduction="10000"/>
          </a:bodyPr>
          <a:lstStyle/>
          <a:p>
            <a:pPr marL="0" lvl="0" indent="0" algn="l" rtl="0">
              <a:lnSpc>
                <a:spcPct val="90000"/>
              </a:lnSpc>
              <a:spcBef>
                <a:spcPts val="0"/>
              </a:spcBef>
              <a:spcAft>
                <a:spcPts val="0"/>
              </a:spcAft>
              <a:buClr>
                <a:schemeClr val="lt1"/>
              </a:buClr>
              <a:buSzPts val="2000"/>
              <a:buNone/>
            </a:pPr>
            <a:r>
              <a:rPr lang="en-US"/>
              <a:t>Tuesday, April 5</a:t>
            </a:r>
            <a:r>
              <a:rPr lang="en-US" baseline="30000"/>
              <a:t>th</a:t>
            </a:r>
            <a:r>
              <a:rPr lang="en-US"/>
              <a:t>, 2022</a:t>
            </a:r>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sp>
        <p:nvSpPr>
          <p:cNvPr id="10" name="Rectangle 9">
            <a:extLst>
              <a:ext uri="{FF2B5EF4-FFF2-40B4-BE49-F238E27FC236}">
                <a16:creationId xmlns:a16="http://schemas.microsoft.com/office/drawing/2014/main" id="{389A6555-68BD-49FE-A450-63908B6BC5AF}"/>
              </a:ext>
            </a:extLst>
          </p:cNvPr>
          <p:cNvSpPr/>
          <p:nvPr/>
        </p:nvSpPr>
        <p:spPr>
          <a:xfrm>
            <a:off x="970" y="-1657"/>
            <a:ext cx="12189372" cy="6857999"/>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0</a:t>
            </a:fld>
            <a:endParaRPr sz="1200" b="0" i="0" u="none" strike="noStrike" cap="none">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0079" y="750806"/>
            <a:ext cx="7171079" cy="1012585"/>
          </a:xfrm>
          <a:prstGeom prst="rect">
            <a:avLst/>
          </a:prstGeom>
          <a:noFill/>
          <a:ln>
            <a:noFill/>
          </a:ln>
        </p:spPr>
        <p:txBody>
          <a:bodyPr spcFirstLastPara="1" wrap="square" lIns="0" tIns="0" rIns="0" bIns="0" anchor="t" anchorCtr="0">
            <a:noAutofit/>
          </a:bodyPr>
          <a:lstStyle/>
          <a:p>
            <a:pPr>
              <a:lnSpc>
                <a:spcPct val="90000"/>
              </a:lnSpc>
              <a:buClr>
                <a:schemeClr val="dk1"/>
              </a:buClr>
              <a:buSzPts val="3600"/>
            </a:pPr>
            <a:r>
              <a:rPr lang="en-US" sz="3200">
                <a:solidFill>
                  <a:schemeClr val="dk1"/>
                </a:solidFill>
                <a:latin typeface="PT Serif"/>
                <a:ea typeface="PT Serif"/>
                <a:cs typeface="PT Serif"/>
                <a:sym typeface="PT Serif"/>
              </a:rPr>
              <a:t>We prepared the VA call center to answer questions about our product </a:t>
            </a:r>
            <a:endParaRPr lang="en-US" sz="3200" b="0" i="0" u="none" strike="noStrike" cap="none">
              <a:solidFill>
                <a:schemeClr val="dk1"/>
              </a:solidFill>
              <a:latin typeface="PT Serif"/>
              <a:ea typeface="PT Serif"/>
              <a:cs typeface="PT Serif"/>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605" name="Google Shape;605;p14"/>
          <p:cNvSpPr txBox="1"/>
          <p:nvPr/>
        </p:nvSpPr>
        <p:spPr>
          <a:xfrm>
            <a:off x="414195" y="1926807"/>
            <a:ext cx="5248996" cy="743280"/>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hlinkClick r:id="rId3"/>
              </a:rPr>
              <a:t>User Story</a:t>
            </a:r>
            <a:r>
              <a:rPr lang="en-US" b="0" i="0" strike="noStrike" cap="none">
                <a:solidFill>
                  <a:schemeClr val="tx1"/>
                </a:solidFill>
                <a:latin typeface="PT Serif"/>
                <a:ea typeface="PT Serif"/>
                <a:cs typeface="PT Serif"/>
                <a:sym typeface="PT Serif"/>
              </a:rPr>
              <a:t>: </a:t>
            </a:r>
            <a:r>
              <a:rPr lang="en-US" b="0" i="0" strike="noStrike" cap="none">
                <a:solidFill>
                  <a:schemeClr val="tx1">
                    <a:lumMod val="50000"/>
                    <a:lumOff val="50000"/>
                  </a:schemeClr>
                </a:solidFill>
                <a:latin typeface="PT Serif"/>
                <a:ea typeface="PT Serif"/>
                <a:cs typeface="PT Serif"/>
                <a:sym typeface="PT Serif"/>
              </a:rPr>
              <a:t>Collaboration cycle: Contact center review</a:t>
            </a:r>
          </a:p>
          <a:p>
            <a:pPr>
              <a:lnSpc>
                <a:spcPct val="115000"/>
              </a:lnSpc>
              <a:buSzPts val="1400"/>
            </a:pPr>
            <a:r>
              <a:rPr lang="en-US" b="0" i="0" strike="noStrike" cap="none">
                <a:solidFill>
                  <a:schemeClr val="tx1"/>
                </a:solidFill>
                <a:latin typeface="PT Serif"/>
                <a:ea typeface="PT Serif"/>
                <a:cs typeface="PT Serif"/>
                <a:sym typeface="PT Serif"/>
                <a:hlinkClick r:id="rId4"/>
              </a:rPr>
              <a:t>User Story</a:t>
            </a:r>
            <a:r>
              <a:rPr lang="en-US" b="0" i="0" strike="noStrike" cap="none">
                <a:solidFill>
                  <a:schemeClr val="tx1"/>
                </a:solidFill>
                <a:latin typeface="PT Serif"/>
                <a:ea typeface="PT Serif"/>
                <a:cs typeface="PT Serif"/>
                <a:sym typeface="PT Serif"/>
              </a:rPr>
              <a:t>: </a:t>
            </a:r>
            <a:r>
              <a:rPr lang="en-US" b="0" i="0" strike="noStrike" cap="none">
                <a:solidFill>
                  <a:schemeClr val="tx1">
                    <a:lumMod val="50000"/>
                    <a:lumOff val="50000"/>
                  </a:schemeClr>
                </a:solidFill>
                <a:latin typeface="PT Serif"/>
                <a:ea typeface="PT Serif"/>
                <a:cs typeface="PT Serif"/>
                <a:sym typeface="PT Serif"/>
              </a:rPr>
              <a:t>Update call center product video to reflect changes from sitewide content</a:t>
            </a:r>
            <a:endParaRPr lang="en-US">
              <a:solidFill>
                <a:schemeClr val="tx1">
                  <a:lumMod val="50000"/>
                  <a:lumOff val="50000"/>
                </a:schemeClr>
              </a:solidFill>
            </a:endParaRPr>
          </a:p>
        </p:txBody>
      </p:sp>
      <p:sp>
        <p:nvSpPr>
          <p:cNvPr id="609" name="Google Shape;609;p14"/>
          <p:cNvSpPr txBox="1"/>
          <p:nvPr/>
        </p:nvSpPr>
        <p:spPr>
          <a:xfrm>
            <a:off x="9131193" y="6122168"/>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latin typeface="Source Sans Pro"/>
                <a:ea typeface="Source Sans Pro"/>
                <a:hlinkClick r:id="rId5"/>
              </a:rPr>
              <a:t>v</a:t>
            </a:r>
            <a:r>
              <a:rPr lang="en-US" sz="1200">
                <a:solidFill>
                  <a:srgbClr val="000000"/>
                </a:solidFill>
                <a:latin typeface="Source Sans Pro"/>
                <a:ea typeface="Source Sans Pro"/>
                <a:sym typeface="Arial"/>
                <a:hlinkClick r:id="rId5"/>
              </a:rPr>
              <a:t>ideo</a:t>
            </a:r>
            <a:r>
              <a:rPr lang="en-US" sz="1200">
                <a:solidFill>
                  <a:srgbClr val="000000"/>
                </a:solidFill>
                <a:latin typeface="Source Sans Pro"/>
                <a:ea typeface="Source Sans Pro"/>
                <a:sym typeface="Arial"/>
              </a:rPr>
              <a:t> &amp; </a:t>
            </a:r>
            <a:r>
              <a:rPr lang="en-US" sz="1200">
                <a:solidFill>
                  <a:srgbClr val="000000"/>
                </a:solidFill>
                <a:latin typeface="Source Sans Pro"/>
                <a:ea typeface="Source Sans Pro"/>
                <a:sym typeface="Arial"/>
                <a:hlinkClick r:id="rId3"/>
              </a:rPr>
              <a:t>ticket</a:t>
            </a:r>
            <a:endParaRPr lang="en-US" sz="1200" b="0" i="0" strike="noStrike" cap="none">
              <a:solidFill>
                <a:srgbClr val="000000"/>
              </a:solidFill>
              <a:latin typeface="Source Sans Pro"/>
              <a:ea typeface="Source Sans Pro"/>
              <a:sym typeface="Arial"/>
            </a:endParaRPr>
          </a:p>
        </p:txBody>
      </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4-05</a:t>
            </a:r>
            <a:r>
              <a:rPr lang="en-US" sz="1200" b="0" i="0" u="none" strike="noStrike" cap="none">
                <a:solidFill>
                  <a:srgbClr val="747C74"/>
                </a:solidFill>
                <a:latin typeface="Source Sans Pro"/>
                <a:ea typeface="Source Sans Pro"/>
                <a:cs typeface="Source Sans Pro"/>
                <a:sym typeface="Source Sans Pro"/>
              </a:rPr>
              <a:t> Sprint 5 Demo</a:t>
            </a:r>
            <a:endParaRPr sz="1200" b="0" i="0" u="none" strike="noStrike" cap="none">
              <a:solidFill>
                <a:srgbClr val="747C74"/>
              </a:solidFill>
              <a:latin typeface="Calibri"/>
              <a:ea typeface="Calibri"/>
              <a:cs typeface="Calibri"/>
              <a:sym typeface="Calibri"/>
            </a:endParaRPr>
          </a:p>
        </p:txBody>
      </p:sp>
      <p:sp>
        <p:nvSpPr>
          <p:cNvPr id="16" name="Google Shape;606;p14">
            <a:extLst>
              <a:ext uri="{FF2B5EF4-FFF2-40B4-BE49-F238E27FC236}">
                <a16:creationId xmlns:a16="http://schemas.microsoft.com/office/drawing/2014/main" id="{F29BBF2D-5F15-45EC-BE2A-14ABF1E18DB5}"/>
              </a:ext>
            </a:extLst>
          </p:cNvPr>
          <p:cNvSpPr txBox="1">
            <a:spLocks noGrp="1"/>
          </p:cNvSpPr>
          <p:nvPr/>
        </p:nvSpPr>
        <p:spPr>
          <a:xfrm>
            <a:off x="185931" y="2832385"/>
            <a:ext cx="4312968" cy="3251874"/>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r>
              <a:rPr lang="en-US" sz="1600"/>
              <a:t>New product video delivered to Jason Woodman and Steven Tarlow on April 1</a:t>
            </a:r>
            <a:endParaRPr lang="en-US"/>
          </a:p>
          <a:p>
            <a:r>
              <a:rPr lang="en-US" sz="1600"/>
              <a:t>All Contact Center review deliverables are with the Jason and Steven, and we're awaiting feedback</a:t>
            </a:r>
          </a:p>
        </p:txBody>
      </p:sp>
      <p:pic>
        <p:nvPicPr>
          <p:cNvPr id="6" name="Picture 6" descr="Graphical user interface, text, application, email&#10;&#10;Description automatically generated">
            <a:extLst>
              <a:ext uri="{FF2B5EF4-FFF2-40B4-BE49-F238E27FC236}">
                <a16:creationId xmlns:a16="http://schemas.microsoft.com/office/drawing/2014/main" id="{6018BBB5-6794-AEE2-EA2A-9D3DB1FBF604}"/>
              </a:ext>
            </a:extLst>
          </p:cNvPr>
          <p:cNvPicPr>
            <a:picLocks noChangeAspect="1"/>
          </p:cNvPicPr>
          <p:nvPr/>
        </p:nvPicPr>
        <p:blipFill>
          <a:blip r:embed="rId6"/>
          <a:stretch>
            <a:fillRect/>
          </a:stretch>
        </p:blipFill>
        <p:spPr>
          <a:xfrm>
            <a:off x="5729591" y="1865421"/>
            <a:ext cx="6223540" cy="3786478"/>
          </a:xfrm>
          <a:prstGeom prst="rect">
            <a:avLst/>
          </a:prstGeom>
        </p:spPr>
      </p:pic>
    </p:spTree>
    <p:extLst>
      <p:ext uri="{BB962C8B-B14F-4D97-AF65-F5344CB8AC3E}">
        <p14:creationId xmlns:p14="http://schemas.microsoft.com/office/powerpoint/2010/main" val="12099935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46"/>
        <p:cNvGrpSpPr/>
        <p:nvPr/>
      </p:nvGrpSpPr>
      <p:grpSpPr>
        <a:xfrm>
          <a:off x="0" y="0"/>
          <a:ext cx="0" cy="0"/>
          <a:chOff x="0" y="0"/>
          <a:chExt cx="0" cy="0"/>
        </a:xfrm>
      </p:grpSpPr>
      <p:cxnSp>
        <p:nvCxnSpPr>
          <p:cNvPr id="647" name="Google Shape;647;p17"/>
          <p:cNvCxnSpPr/>
          <p:nvPr/>
        </p:nvCxnSpPr>
        <p:spPr>
          <a:xfrm rot="10800000">
            <a:off x="8694795" y="2255175"/>
            <a:ext cx="0" cy="335625"/>
          </a:xfrm>
          <a:prstGeom prst="straightConnector1">
            <a:avLst/>
          </a:prstGeom>
          <a:noFill/>
          <a:ln w="9525" cap="flat" cmpd="sng">
            <a:solidFill>
              <a:schemeClr val="lt1"/>
            </a:solidFill>
            <a:prstDash val="solid"/>
            <a:miter lim="800000"/>
            <a:headEnd type="none" w="sm" len="sm"/>
            <a:tailEnd type="none" w="sm" len="sm"/>
          </a:ln>
        </p:spPr>
      </p:cxnSp>
      <p:cxnSp>
        <p:nvCxnSpPr>
          <p:cNvPr id="648" name="Google Shape;648;p17"/>
          <p:cNvCxnSpPr/>
          <p:nvPr/>
        </p:nvCxnSpPr>
        <p:spPr>
          <a:xfrm rot="10800000">
            <a:off x="2704628" y="2255175"/>
            <a:ext cx="0" cy="335625"/>
          </a:xfrm>
          <a:prstGeom prst="straightConnector1">
            <a:avLst/>
          </a:prstGeom>
          <a:noFill/>
          <a:ln w="9525" cap="flat" cmpd="sng">
            <a:solidFill>
              <a:schemeClr val="lt1"/>
            </a:solidFill>
            <a:prstDash val="solid"/>
            <a:miter lim="800000"/>
            <a:headEnd type="none" w="sm" len="sm"/>
            <a:tailEnd type="none" w="sm" len="sm"/>
          </a:ln>
        </p:spPr>
      </p:cxnSp>
      <p:sp>
        <p:nvSpPr>
          <p:cNvPr id="649" name="Google Shape;649;p17"/>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1</a:t>
            </a:fld>
            <a:endParaRPr sz="1200" b="0" i="0" u="none" strike="noStrike" cap="none">
              <a:solidFill>
                <a:srgbClr val="8A8A8A"/>
              </a:solidFill>
              <a:latin typeface="Source Sans Pro"/>
              <a:ea typeface="Source Sans Pro"/>
              <a:cs typeface="Source Sans Pro"/>
              <a:sym typeface="Source Sans Pro"/>
            </a:endParaRPr>
          </a:p>
        </p:txBody>
      </p:sp>
      <p:sp>
        <p:nvSpPr>
          <p:cNvPr id="651" name="Google Shape;651;p17"/>
          <p:cNvSpPr txBox="1"/>
          <p:nvPr/>
        </p:nvSpPr>
        <p:spPr>
          <a:xfrm>
            <a:off x="406690" y="711050"/>
            <a:ext cx="10993180" cy="1008717"/>
          </a:xfrm>
          <a:prstGeom prst="rect">
            <a:avLst/>
          </a:prstGeom>
          <a:noFill/>
          <a:ln>
            <a:noFill/>
          </a:ln>
        </p:spPr>
        <p:txBody>
          <a:bodyPr spcFirstLastPara="1" wrap="square" lIns="0" tIns="0" rIns="0" bIns="0" anchor="t" anchorCtr="0">
            <a:noAutofit/>
          </a:bodyPr>
          <a:lstStyle/>
          <a:p>
            <a:r>
              <a:rPr lang="en-US" sz="2800">
                <a:solidFill>
                  <a:schemeClr val="dk1"/>
                </a:solidFill>
                <a:latin typeface="PT Serif"/>
                <a:ea typeface="Source Sans Pro"/>
                <a:sym typeface="PT Serif"/>
              </a:rPr>
              <a:t>We completed product build in anticipation of entering staging review on April 8</a:t>
            </a:r>
            <a:endParaRPr lang="en-US" sz="2800">
              <a:solidFill>
                <a:schemeClr val="dk1"/>
              </a:solidFill>
              <a:latin typeface="PT Serif"/>
              <a:ea typeface="Source Sans Pro"/>
            </a:endParaRPr>
          </a:p>
        </p:txBody>
      </p:sp>
      <p:grpSp>
        <p:nvGrpSpPr>
          <p:cNvPr id="3" name="Google Shape;602;p14">
            <a:extLst>
              <a:ext uri="{FF2B5EF4-FFF2-40B4-BE49-F238E27FC236}">
                <a16:creationId xmlns:a16="http://schemas.microsoft.com/office/drawing/2014/main" id="{560B9BCE-BD9C-4DC4-B8D7-55EDB4302727}"/>
              </a:ext>
            </a:extLst>
          </p:cNvPr>
          <p:cNvGrpSpPr/>
          <p:nvPr/>
        </p:nvGrpSpPr>
        <p:grpSpPr>
          <a:xfrm>
            <a:off x="410431" y="309109"/>
            <a:ext cx="5150524" cy="369094"/>
            <a:chOff x="410431" y="309109"/>
            <a:chExt cx="5150524" cy="369094"/>
          </a:xfrm>
        </p:grpSpPr>
        <p:sp>
          <p:nvSpPr>
            <p:cNvPr id="20" name="Google Shape;603;p14">
              <a:extLst>
                <a:ext uri="{FF2B5EF4-FFF2-40B4-BE49-F238E27FC236}">
                  <a16:creationId xmlns:a16="http://schemas.microsoft.com/office/drawing/2014/main" id="{F925A1F4-7E0D-4E3E-AB93-6F1A04816973}"/>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2</a:t>
              </a:r>
              <a:endParaRPr lang="en-US" sz="1200" b="0" i="0" u="none" strike="noStrike" cap="none">
                <a:solidFill>
                  <a:srgbClr val="FFFFFF"/>
                </a:solidFill>
                <a:latin typeface="PT Serif"/>
                <a:ea typeface="Arial"/>
                <a:cs typeface="Arial"/>
              </a:endParaRPr>
            </a:p>
          </p:txBody>
        </p:sp>
        <p:sp>
          <p:nvSpPr>
            <p:cNvPr id="21" name="Google Shape;604;p14">
              <a:extLst>
                <a:ext uri="{FF2B5EF4-FFF2-40B4-BE49-F238E27FC236}">
                  <a16:creationId xmlns:a16="http://schemas.microsoft.com/office/drawing/2014/main" id="{313FFEE4-B196-49E6-BA0E-316E9BA5BF3D}"/>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TECH</a:t>
              </a:r>
              <a:endParaRPr lang="en-US"/>
            </a:p>
          </p:txBody>
        </p:sp>
      </p:grpSp>
      <p:sp>
        <p:nvSpPr>
          <p:cNvPr id="5" name="Google Shape;470;p9">
            <a:extLst>
              <a:ext uri="{FF2B5EF4-FFF2-40B4-BE49-F238E27FC236}">
                <a16:creationId xmlns:a16="http://schemas.microsoft.com/office/drawing/2014/main" id="{22812CC0-45A2-42FA-B89D-A8FF471FF11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Tech</a:t>
            </a:r>
            <a:endParaRPr lang="en-US"/>
          </a:p>
        </p:txBody>
      </p:sp>
      <p:sp>
        <p:nvSpPr>
          <p:cNvPr id="7" name="Google Shape;337;p6">
            <a:extLst>
              <a:ext uri="{FF2B5EF4-FFF2-40B4-BE49-F238E27FC236}">
                <a16:creationId xmlns:a16="http://schemas.microsoft.com/office/drawing/2014/main" id="{5EDFEF76-4A9B-4615-A291-9A3C8D686D4A}"/>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05 Sprint 5</a:t>
            </a:r>
            <a:r>
              <a:rPr lang="en-US" sz="1200">
                <a:solidFill>
                  <a:srgbClr val="747C74"/>
                </a:solidFill>
                <a:latin typeface="Source Sans Pro"/>
                <a:ea typeface="Source Sans Pro"/>
                <a:cs typeface="Source Sans Pro"/>
                <a:sym typeface="Source Sans Pro"/>
              </a:rPr>
              <a:t> </a:t>
            </a:r>
            <a:r>
              <a:rPr lang="en-US" sz="1200" b="0" i="0" u="none" strike="noStrike" cap="none">
                <a:solidFill>
                  <a:srgbClr val="747C74"/>
                </a:solidFill>
                <a:latin typeface="Source Sans Pro"/>
                <a:ea typeface="Source Sans Pro"/>
                <a:cs typeface="Source Sans Pro"/>
                <a:sym typeface="Source Sans Pro"/>
              </a:rPr>
              <a:t>Demo</a:t>
            </a:r>
            <a:endParaRPr sz="1200" b="0" i="0" u="none" strike="noStrike" cap="none">
              <a:solidFill>
                <a:srgbClr val="747C74"/>
              </a:solidFill>
              <a:latin typeface="Calibri"/>
              <a:ea typeface="Calibri"/>
              <a:cs typeface="Calibri"/>
              <a:sym typeface="Calibri"/>
            </a:endParaRPr>
          </a:p>
        </p:txBody>
      </p:sp>
      <p:sp>
        <p:nvSpPr>
          <p:cNvPr id="15" name="Google Shape;655;p17">
            <a:extLst>
              <a:ext uri="{FF2B5EF4-FFF2-40B4-BE49-F238E27FC236}">
                <a16:creationId xmlns:a16="http://schemas.microsoft.com/office/drawing/2014/main" id="{9C4A17CE-EF6F-4ED7-ADC1-9CEE9825B750}"/>
              </a:ext>
            </a:extLst>
          </p:cNvPr>
          <p:cNvSpPr txBox="1"/>
          <p:nvPr/>
        </p:nvSpPr>
        <p:spPr>
          <a:xfrm>
            <a:off x="419100" y="1704783"/>
            <a:ext cx="4414272" cy="1034129"/>
          </a:xfrm>
          <a:prstGeom prst="rect">
            <a:avLst/>
          </a:prstGeom>
          <a:noFill/>
          <a:ln>
            <a:noFill/>
          </a:ln>
        </p:spPr>
        <p:txBody>
          <a:bodyPr spcFirstLastPara="1" wrap="square" lIns="0" tIns="0" rIns="0" bIns="0" anchor="t" anchorCtr="0">
            <a:spAutoFit/>
          </a:bodyPr>
          <a:lstStyle/>
          <a:p>
            <a:r>
              <a:rPr lang="en-US" sz="1200">
                <a:solidFill>
                  <a:schemeClr val="bg2"/>
                </a:solidFill>
                <a:latin typeface="PT Serif"/>
                <a:ea typeface="PT Serif"/>
                <a:hlinkClick r:id="rId3"/>
              </a:rPr>
              <a:t>User Story</a:t>
            </a:r>
            <a:r>
              <a:rPr lang="en-US" sz="1200">
                <a:solidFill>
                  <a:schemeClr val="tx1"/>
                </a:solidFill>
                <a:latin typeface="PT Serif"/>
                <a:ea typeface="PT Serif"/>
              </a:rPr>
              <a:t>: </a:t>
            </a:r>
            <a:r>
              <a:rPr lang="en-US" sz="1200">
                <a:solidFill>
                  <a:schemeClr val="tx1">
                    <a:lumMod val="50000"/>
                    <a:lumOff val="50000"/>
                  </a:schemeClr>
                </a:solidFill>
                <a:latin typeface="PT Serif"/>
                <a:ea typeface="PT Serif"/>
              </a:rPr>
              <a:t>Update model for encryption</a:t>
            </a:r>
            <a:endParaRPr lang="en-US" sz="1200">
              <a:solidFill>
                <a:schemeClr val="tx1">
                  <a:lumMod val="50000"/>
                  <a:lumOff val="50000"/>
                </a:schemeClr>
              </a:solidFill>
              <a:ea typeface="PT Serif"/>
            </a:endParaRPr>
          </a:p>
          <a:p>
            <a:pPr>
              <a:lnSpc>
                <a:spcPct val="114999"/>
              </a:lnSpc>
              <a:buSzPts val="1400"/>
            </a:pPr>
            <a:r>
              <a:rPr lang="en-US" sz="1200" b="0" i="0" strike="noStrike" cap="none">
                <a:solidFill>
                  <a:schemeClr val="bg2"/>
                </a:solidFill>
                <a:latin typeface="PT Serif"/>
                <a:ea typeface="PT Serif"/>
                <a:cs typeface="PT Serif"/>
                <a:sym typeface="PT Serif"/>
                <a:hlinkClick r:id="rId4"/>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chemeClr val="tx1">
                    <a:lumMod val="50000"/>
                    <a:lumOff val="50000"/>
                  </a:schemeClr>
                </a:solidFill>
                <a:latin typeface="PT Serif"/>
                <a:ea typeface="PT Serif"/>
                <a:cs typeface="PT Serif"/>
                <a:sym typeface="PT Serif"/>
              </a:rPr>
              <a:t>Update AWS script</a:t>
            </a:r>
            <a:endParaRPr lang="en-US" sz="1200" b="0" i="0" strike="noStrike" cap="none">
              <a:solidFill>
                <a:schemeClr val="tx1">
                  <a:lumMod val="50000"/>
                  <a:lumOff val="50000"/>
                </a:schemeClr>
              </a:solidFill>
              <a:latin typeface="PT Serif"/>
              <a:ea typeface="PT Serif"/>
              <a:cs typeface="PT Serif"/>
            </a:endParaRPr>
          </a:p>
          <a:p>
            <a:pPr>
              <a:lnSpc>
                <a:spcPct val="114999"/>
              </a:lnSpc>
              <a:buSzPts val="1400"/>
            </a:pPr>
            <a:r>
              <a:rPr lang="en-US" sz="1200" b="0" i="0" strike="noStrike" cap="none">
                <a:solidFill>
                  <a:schemeClr val="bg2"/>
                </a:solidFill>
                <a:latin typeface="PT Serif"/>
                <a:ea typeface="PT Serif"/>
                <a:cs typeface="PT Serif"/>
                <a:sym typeface="PT Serif"/>
                <a:hlinkClick r:id="rId5"/>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chemeClr val="tx1">
                    <a:lumMod val="50000"/>
                    <a:lumOff val="50000"/>
                  </a:schemeClr>
                </a:solidFill>
                <a:latin typeface="PT Serif"/>
                <a:ea typeface="PT Serif"/>
                <a:cs typeface="PT Serif"/>
                <a:sym typeface="PT Serif"/>
              </a:rPr>
              <a:t>Front end testing</a:t>
            </a:r>
            <a:endParaRPr lang="en-US" sz="1200" b="0" i="0" strike="noStrike" cap="none">
              <a:solidFill>
                <a:schemeClr val="tx1">
                  <a:lumMod val="50000"/>
                  <a:lumOff val="50000"/>
                </a:schemeClr>
              </a:solidFill>
              <a:latin typeface="PT Serif"/>
              <a:ea typeface="PT Serif"/>
              <a:cs typeface="PT Serif"/>
            </a:endParaRPr>
          </a:p>
          <a:p>
            <a:pPr>
              <a:lnSpc>
                <a:spcPct val="114999"/>
              </a:lnSpc>
              <a:buSzPts val="1400"/>
            </a:pPr>
            <a:r>
              <a:rPr lang="en-US" sz="1200" b="0" i="0" strike="noStrike" cap="none">
                <a:solidFill>
                  <a:schemeClr val="bg2"/>
                </a:solidFill>
                <a:latin typeface="PT Serif"/>
                <a:ea typeface="PT Serif"/>
                <a:cs typeface="PT Serif"/>
                <a:sym typeface="PT Serif"/>
                <a:hlinkClick r:id="rId6"/>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Building out front end for error states</a:t>
            </a:r>
          </a:p>
          <a:p>
            <a:pPr>
              <a:lnSpc>
                <a:spcPct val="114999"/>
              </a:lnSpc>
              <a:buSzPts val="1400"/>
            </a:pPr>
            <a:r>
              <a:rPr lang="en-US" sz="1200" b="0" i="0" strike="noStrike" cap="none">
                <a:solidFill>
                  <a:schemeClr val="bg2"/>
                </a:solidFill>
                <a:latin typeface="PT Serif"/>
                <a:ea typeface="PT Serif"/>
                <a:cs typeface="PT Serif"/>
                <a:sym typeface="PT Serif"/>
                <a:hlinkClick r:id="rId7"/>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Collaboration cycle: Staging review</a:t>
            </a:r>
            <a:endParaRPr lang="en-US" sz="1200"/>
          </a:p>
        </p:txBody>
      </p:sp>
      <p:sp>
        <p:nvSpPr>
          <p:cNvPr id="14" name="Google Shape;641;p16">
            <a:extLst>
              <a:ext uri="{FF2B5EF4-FFF2-40B4-BE49-F238E27FC236}">
                <a16:creationId xmlns:a16="http://schemas.microsoft.com/office/drawing/2014/main" id="{D5AFD166-FDA5-49D0-9503-A4D355EE3E78}"/>
              </a:ext>
            </a:extLst>
          </p:cNvPr>
          <p:cNvSpPr txBox="1"/>
          <p:nvPr/>
        </p:nvSpPr>
        <p:spPr>
          <a:xfrm>
            <a:off x="8425546" y="6109251"/>
            <a:ext cx="3445011" cy="276959"/>
          </a:xfrm>
          <a:prstGeom prst="rect">
            <a:avLst/>
          </a:prstGeom>
          <a:noFill/>
          <a:ln>
            <a:noFill/>
          </a:ln>
        </p:spPr>
        <p:txBody>
          <a:bodyPr spcFirstLastPara="1" wrap="square" lIns="91425" tIns="45700" rIns="91425" bIns="45700" anchor="t" anchorCtr="0">
            <a:spAutoFit/>
          </a:bodyPr>
          <a:lstStyle/>
          <a:p>
            <a:pPr lvl="1" algn="r">
              <a:buSzPts val="1400"/>
            </a:pPr>
            <a:r>
              <a:rPr lang="en-US" sz="1200">
                <a:latin typeface="Source Sans Pro"/>
                <a:ea typeface="Source Sans Pro"/>
              </a:rPr>
              <a:t>Ticket</a:t>
            </a:r>
            <a:r>
              <a:rPr lang="en-US" sz="1200">
                <a:latin typeface="Source Sans Pro"/>
                <a:ea typeface="Source Sans Pro"/>
                <a:hlinkClick r:id="rId8"/>
              </a:rPr>
              <a:t> </a:t>
            </a:r>
            <a:r>
              <a:rPr lang="en-US" sz="1200">
                <a:latin typeface="Source Sans Pro"/>
                <a:ea typeface="Source Sans Pro"/>
              </a:rPr>
              <a:t>#G</a:t>
            </a:r>
            <a:r>
              <a:rPr lang="en-US" sz="1200">
                <a:latin typeface="Source Sans Pro"/>
                <a:ea typeface="Source Sans Pro"/>
                <a:hlinkClick r:id="rId8"/>
              </a:rPr>
              <a:t>9457</a:t>
            </a:r>
            <a:r>
              <a:rPr lang="en-US" sz="1200">
                <a:latin typeface="Source Sans Pro"/>
                <a:ea typeface="Source Sans Pro"/>
              </a:rPr>
              <a:t>, </a:t>
            </a:r>
            <a:r>
              <a:rPr lang="en-US" sz="1200">
                <a:latin typeface="Source Sans Pro"/>
                <a:ea typeface="Source Sans Pro"/>
                <a:hlinkClick r:id="rId9"/>
              </a:rPr>
              <a:t>9423</a:t>
            </a:r>
            <a:r>
              <a:rPr lang="en-US" sz="1200">
                <a:latin typeface="Source Sans Pro"/>
                <a:ea typeface="Source Sans Pro"/>
              </a:rPr>
              <a:t>, </a:t>
            </a:r>
            <a:r>
              <a:rPr lang="en-US" sz="1200">
                <a:latin typeface="Source Sans Pro"/>
                <a:ea typeface="Source Sans Pro"/>
                <a:hlinkClick r:id="rId10"/>
              </a:rPr>
              <a:t>9430</a:t>
            </a:r>
            <a:r>
              <a:rPr lang="en-US" sz="1200">
                <a:latin typeface="Source Sans Pro"/>
                <a:ea typeface="Source Sans Pro"/>
              </a:rPr>
              <a:t>, </a:t>
            </a:r>
            <a:r>
              <a:rPr lang="en-US" sz="1200">
                <a:latin typeface="Source Sans Pro"/>
                <a:ea typeface="Source Sans Pro"/>
                <a:hlinkClick r:id="rId11"/>
              </a:rPr>
              <a:t>20693</a:t>
            </a:r>
            <a:r>
              <a:rPr lang="en-US" sz="1200">
                <a:latin typeface="Source Sans Pro"/>
                <a:ea typeface="Source Sans Pro"/>
              </a:rPr>
              <a:t>, </a:t>
            </a:r>
            <a:r>
              <a:rPr lang="en-US" sz="1200">
                <a:latin typeface="Source Sans Pro"/>
                <a:ea typeface="Source Sans Pro"/>
                <a:hlinkClick r:id="rId11"/>
              </a:rPr>
              <a:t>20619</a:t>
            </a:r>
            <a:r>
              <a:rPr lang="en-US" sz="1200">
                <a:latin typeface="Source Sans Pro"/>
                <a:ea typeface="Source Sans Pro"/>
              </a:rPr>
              <a:t> </a:t>
            </a:r>
            <a:endParaRPr lang="en-US" sz="1200" b="0" i="0" strike="noStrike" cap="none">
              <a:solidFill>
                <a:srgbClr val="000000"/>
              </a:solidFill>
              <a:latin typeface="Source Sans Pro"/>
              <a:ea typeface="Source Sans Pro"/>
              <a:sym typeface="Arial"/>
            </a:endParaRPr>
          </a:p>
        </p:txBody>
      </p:sp>
      <p:sp>
        <p:nvSpPr>
          <p:cNvPr id="16" name="Google Shape;606;p14">
            <a:extLst>
              <a:ext uri="{FF2B5EF4-FFF2-40B4-BE49-F238E27FC236}">
                <a16:creationId xmlns:a16="http://schemas.microsoft.com/office/drawing/2014/main" id="{8F0CA37A-B6EB-4A17-9D52-2FBB285889D0}"/>
              </a:ext>
            </a:extLst>
          </p:cNvPr>
          <p:cNvSpPr txBox="1">
            <a:spLocks noGrp="1"/>
          </p:cNvSpPr>
          <p:nvPr/>
        </p:nvSpPr>
        <p:spPr>
          <a:xfrm>
            <a:off x="330925" y="2847718"/>
            <a:ext cx="3932557" cy="326385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228600" indent="-228600">
              <a:lnSpc>
                <a:spcPct val="120000"/>
              </a:lnSpc>
            </a:pPr>
            <a:r>
              <a:rPr lang="en-US" sz="1200"/>
              <a:t>Model and encryption and AWS scripts done</a:t>
            </a:r>
          </a:p>
          <a:p>
            <a:pPr marL="685800" lvl="1" indent="-228600">
              <a:lnSpc>
                <a:spcPct val="120000"/>
              </a:lnSpc>
            </a:pPr>
            <a:r>
              <a:rPr lang="en-US" sz="1200"/>
              <a:t>Tests need to be written for these</a:t>
            </a:r>
          </a:p>
          <a:p>
            <a:pPr marL="228600" indent="-228600">
              <a:lnSpc>
                <a:spcPct val="120000"/>
              </a:lnSpc>
            </a:pPr>
            <a:r>
              <a:rPr lang="en-US" sz="1200"/>
              <a:t>Front End error states are completed and merged</a:t>
            </a:r>
          </a:p>
          <a:p>
            <a:pPr marL="457200" lvl="1" indent="-228600">
              <a:lnSpc>
                <a:spcPct val="120000"/>
              </a:lnSpc>
            </a:pPr>
            <a:r>
              <a:rPr lang="en-US" sz="1100"/>
              <a:t>Alternative forms of testing approved by collaboration cycle PM</a:t>
            </a:r>
          </a:p>
          <a:p>
            <a:pPr marL="228600" indent="-228600">
              <a:lnSpc>
                <a:spcPct val="120000"/>
              </a:lnSpc>
            </a:pPr>
            <a:r>
              <a:rPr lang="en-US" sz="1200"/>
              <a:t>Staging review on Friday April 8</a:t>
            </a:r>
          </a:p>
        </p:txBody>
      </p:sp>
      <p:pic>
        <p:nvPicPr>
          <p:cNvPr id="8" name="Picture 7">
            <a:extLst>
              <a:ext uri="{FF2B5EF4-FFF2-40B4-BE49-F238E27FC236}">
                <a16:creationId xmlns:a16="http://schemas.microsoft.com/office/drawing/2014/main" id="{785988DC-4B70-4B83-AFED-79E89CF52FB3}"/>
              </a:ext>
            </a:extLst>
          </p:cNvPr>
          <p:cNvPicPr>
            <a:picLocks noChangeAspect="1"/>
          </p:cNvPicPr>
          <p:nvPr/>
        </p:nvPicPr>
        <p:blipFill rotWithShape="1">
          <a:blip r:embed="rId12"/>
          <a:srcRect l="4762" t="6381" b="2119"/>
          <a:stretch/>
        </p:blipFill>
        <p:spPr>
          <a:xfrm>
            <a:off x="6178594" y="1474383"/>
            <a:ext cx="4190432" cy="1897208"/>
          </a:xfrm>
          <a:prstGeom prst="rect">
            <a:avLst/>
          </a:prstGeom>
          <a:ln w="12700">
            <a:solidFill>
              <a:schemeClr val="tx1">
                <a:lumMod val="10000"/>
                <a:lumOff val="90000"/>
              </a:schemeClr>
            </a:solidFill>
          </a:ln>
        </p:spPr>
      </p:pic>
      <p:pic>
        <p:nvPicPr>
          <p:cNvPr id="10" name="Picture 9">
            <a:extLst>
              <a:ext uri="{FF2B5EF4-FFF2-40B4-BE49-F238E27FC236}">
                <a16:creationId xmlns:a16="http://schemas.microsoft.com/office/drawing/2014/main" id="{37E5AC81-5941-4702-87D9-892EEDC46324}"/>
              </a:ext>
            </a:extLst>
          </p:cNvPr>
          <p:cNvPicPr>
            <a:picLocks noChangeAspect="1"/>
          </p:cNvPicPr>
          <p:nvPr/>
        </p:nvPicPr>
        <p:blipFill rotWithShape="1">
          <a:blip r:embed="rId13"/>
          <a:srcRect l="6274"/>
          <a:stretch/>
        </p:blipFill>
        <p:spPr>
          <a:xfrm>
            <a:off x="6019799" y="3601029"/>
            <a:ext cx="4695825" cy="1537205"/>
          </a:xfrm>
          <a:prstGeom prst="rect">
            <a:avLst/>
          </a:prstGeom>
        </p:spPr>
      </p:pic>
    </p:spTree>
    <p:extLst>
      <p:ext uri="{BB962C8B-B14F-4D97-AF65-F5344CB8AC3E}">
        <p14:creationId xmlns:p14="http://schemas.microsoft.com/office/powerpoint/2010/main" val="17563893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71"/>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10A9AC-54F5-49DC-A7BD-C965E66336EB}"/>
              </a:ext>
            </a:extLst>
          </p:cNvPr>
          <p:cNvGraphicFramePr>
            <a:graphicFrameLocks noChangeAspect="1"/>
          </p:cNvGraphicFramePr>
          <p:nvPr>
            <p:custDataLst>
              <p:tags r:id="rId2"/>
            </p:custDataLst>
            <p:extLst>
              <p:ext uri="{D42A27DB-BD31-4B8C-83A1-F6EECF244321}">
                <p14:modId xmlns:p14="http://schemas.microsoft.com/office/powerpoint/2010/main" val="2716062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7"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710A9AC-54F5-49DC-A7BD-C965E66336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2" name="Google Shape;572;p12"/>
          <p:cNvSpPr txBox="1">
            <a:spLocks noGrp="1"/>
          </p:cNvSpPr>
          <p:nvPr>
            <p:ph type="title"/>
          </p:nvPr>
        </p:nvSpPr>
        <p:spPr>
          <a:xfrm>
            <a:off x="409952" y="750806"/>
            <a:ext cx="7266195" cy="1012585"/>
          </a:xfrm>
          <a:prstGeom prst="rect">
            <a:avLst/>
          </a:prstGeom>
          <a:noFill/>
          <a:ln>
            <a:noFill/>
          </a:ln>
        </p:spPr>
        <p:txBody>
          <a:bodyPr spcFirstLastPara="1" wrap="square" lIns="0" tIns="0" rIns="0" bIns="0" anchor="t" anchorCtr="0">
            <a:noAutofit/>
          </a:bodyPr>
          <a:lstStyle/>
          <a:p>
            <a:r>
              <a:rPr lang="en-US" sz="2800"/>
              <a:t>We tested for accessibility compliance and created a path for future improvements</a:t>
            </a:r>
          </a:p>
        </p:txBody>
      </p:sp>
      <p:sp>
        <p:nvSpPr>
          <p:cNvPr id="573" name="Google Shape;573;p12"/>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2</a:t>
            </a:fld>
            <a:endParaRPr sz="1200" b="0" i="0" u="none" strike="noStrike" cap="none">
              <a:solidFill>
                <a:srgbClr val="8A8A8A"/>
              </a:solidFill>
              <a:latin typeface="Source Sans Pro"/>
              <a:ea typeface="Source Sans Pro"/>
              <a:cs typeface="Source Sans Pro"/>
              <a:sym typeface="Source Sans Pro"/>
            </a:endParaRPr>
          </a:p>
        </p:txBody>
      </p:sp>
      <p:sp>
        <p:nvSpPr>
          <p:cNvPr id="579" name="Google Shape;579;p12"/>
          <p:cNvSpPr txBox="1"/>
          <p:nvPr/>
        </p:nvSpPr>
        <p:spPr>
          <a:xfrm>
            <a:off x="438912" y="1716731"/>
            <a:ext cx="4909125" cy="1061829"/>
          </a:xfrm>
          <a:prstGeom prst="rect">
            <a:avLst/>
          </a:prstGeom>
          <a:noFill/>
          <a:ln>
            <a:noFill/>
          </a:ln>
        </p:spPr>
        <p:txBody>
          <a:bodyPr spcFirstLastPara="1" wrap="square" lIns="0" tIns="0" rIns="0" bIns="0" anchor="t" anchorCtr="0">
            <a:spAutoFit/>
          </a:bodyPr>
          <a:lstStyle/>
          <a:p>
            <a:pPr>
              <a:lnSpc>
                <a:spcPct val="115000"/>
              </a:lnSpc>
              <a:buClr>
                <a:schemeClr val="dk2"/>
              </a:buClr>
              <a:buSzPts val="1400"/>
            </a:pPr>
            <a:r>
              <a:rPr lang="en-US" sz="1200" b="0" i="0" strike="noStrike" cap="none">
                <a:solidFill>
                  <a:schemeClr val="tx1"/>
                </a:solidFill>
                <a:latin typeface="PT Serif"/>
                <a:ea typeface="PT Serif"/>
                <a:cs typeface="PT Serif"/>
                <a:sym typeface="PT Serif"/>
                <a:hlinkClick r:id="rId7"/>
              </a:rPr>
              <a:t>User Story</a:t>
            </a:r>
            <a:r>
              <a:rPr lang="en-US" sz="1200" b="0" i="0" strike="noStrike" cap="none">
                <a:solidFill>
                  <a:schemeClr val="tx1"/>
                </a:solidFill>
                <a:latin typeface="PT Serif"/>
                <a:ea typeface="PT Serif"/>
                <a:cs typeface="PT Serif"/>
                <a:sym typeface="PT Serif"/>
              </a:rPr>
              <a:t>: </a:t>
            </a:r>
            <a:r>
              <a:rPr lang="en-US" sz="1200">
                <a:solidFill>
                  <a:srgbClr val="8F8F8F"/>
                </a:solidFill>
                <a:latin typeface="PT Serif"/>
                <a:ea typeface="PT Serif"/>
                <a:cs typeface="PT Serif"/>
                <a:sym typeface="PT Serif"/>
              </a:rPr>
              <a:t>Explore options in fixing language parameters on PDF</a:t>
            </a:r>
          </a:p>
          <a:p>
            <a:pPr>
              <a:lnSpc>
                <a:spcPct val="115000"/>
              </a:lnSpc>
              <a:buClr>
                <a:schemeClr val="dk2"/>
              </a:buClr>
              <a:buSzPts val="1400"/>
            </a:pPr>
            <a:r>
              <a:rPr lang="en-US" sz="1200" b="0" i="0" strike="noStrike" cap="none">
                <a:solidFill>
                  <a:schemeClr val="tx1"/>
                </a:solidFill>
                <a:latin typeface="PT Serif"/>
                <a:ea typeface="PT Serif"/>
                <a:cs typeface="PT Serif"/>
                <a:sym typeface="PT Serif"/>
                <a:hlinkClick r:id="rId8"/>
              </a:rPr>
              <a:t>User Story</a:t>
            </a:r>
            <a:r>
              <a:rPr lang="en-US" sz="1200" b="0" i="0" strike="noStrike" cap="none">
                <a:solidFill>
                  <a:schemeClr val="tx1"/>
                </a:solidFill>
                <a:latin typeface="PT Serif"/>
                <a:ea typeface="PT Serif"/>
                <a:cs typeface="PT Serif"/>
                <a:sym typeface="PT Serif"/>
              </a:rPr>
              <a:t>: </a:t>
            </a:r>
            <a:r>
              <a:rPr lang="en-US" sz="1200">
                <a:solidFill>
                  <a:srgbClr val="8F8F8F"/>
                </a:solidFill>
                <a:latin typeface="PT Serif"/>
                <a:ea typeface="PT Serif"/>
                <a:cs typeface="PT Serif"/>
                <a:sym typeface="PT Serif"/>
              </a:rPr>
              <a:t>1095-B Team Staging Review Accessibility Checklist</a:t>
            </a:r>
            <a:endParaRPr lang="en-US" sz="1200" b="0" i="0" strike="noStrike" cap="none">
              <a:solidFill>
                <a:srgbClr val="8F8F8F"/>
              </a:solidFill>
              <a:latin typeface="PT Serif"/>
              <a:ea typeface="PT Serif"/>
              <a:cs typeface="PT Serif"/>
            </a:endParaRPr>
          </a:p>
          <a:p>
            <a:pPr>
              <a:lnSpc>
                <a:spcPct val="115000"/>
              </a:lnSpc>
              <a:buClr>
                <a:schemeClr val="dk2"/>
              </a:buClr>
              <a:buSzPts val="1400"/>
            </a:pPr>
            <a:r>
              <a:rPr lang="en-US" sz="1200" b="0" i="0" strike="noStrike" cap="none">
                <a:solidFill>
                  <a:schemeClr val="tx1"/>
                </a:solidFill>
                <a:latin typeface="PT Serif"/>
                <a:ea typeface="PT Serif"/>
                <a:cs typeface="PT Serif"/>
                <a:sym typeface="PT Serif"/>
                <a:hlinkClick r:id="rId9"/>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Aligned on path forward regarding PDF accessibility</a:t>
            </a:r>
            <a:endParaRPr lang="en-US" sz="1200" b="0" i="0" strike="noStrike" cap="none">
              <a:solidFill>
                <a:srgbClr val="8F8F8F"/>
              </a:solidFill>
              <a:latin typeface="PT Serif"/>
              <a:ea typeface="PT Serif"/>
              <a:cs typeface="PT Serif"/>
            </a:endParaRPr>
          </a:p>
          <a:p>
            <a:pPr>
              <a:lnSpc>
                <a:spcPct val="115000"/>
              </a:lnSpc>
              <a:buClr>
                <a:schemeClr val="dk2"/>
              </a:buClr>
              <a:buSzPts val="1400"/>
            </a:pPr>
            <a:r>
              <a:rPr lang="en-US" sz="1200" b="0" i="0" strike="noStrike" cap="none">
                <a:solidFill>
                  <a:schemeClr val="tx1"/>
                </a:solidFill>
                <a:latin typeface="PT Serif"/>
                <a:ea typeface="PT Serif"/>
                <a:cs typeface="PT Serif"/>
                <a:sym typeface="PT Serif"/>
                <a:hlinkClick r:id="rId10"/>
              </a:rPr>
              <a:t>User Story</a:t>
            </a:r>
            <a:r>
              <a:rPr lang="en-US" sz="1200" b="0" i="0" strike="noStrike" cap="none">
                <a:solidFill>
                  <a:schemeClr val="tx1"/>
                </a:solidFill>
                <a:latin typeface="PT Serif"/>
                <a:ea typeface="PT Serif"/>
                <a:cs typeface="PT Serif"/>
                <a:sym typeface="PT Serif"/>
              </a:rPr>
              <a:t>: </a:t>
            </a:r>
            <a:r>
              <a:rPr lang="en-US" sz="1200">
                <a:solidFill>
                  <a:srgbClr val="8F8F8F"/>
                </a:solidFill>
                <a:latin typeface="PT Serif"/>
                <a:ea typeface="PT Serif"/>
                <a:cs typeface="PT Serif"/>
                <a:sym typeface="PT Serif"/>
              </a:rPr>
              <a:t>Draft notice to VA Accessibility Office regarding product non-compliance</a:t>
            </a:r>
          </a:p>
        </p:txBody>
      </p:sp>
      <p:grpSp>
        <p:nvGrpSpPr>
          <p:cNvPr id="2" name="Google Shape;602;p14">
            <a:extLst>
              <a:ext uri="{FF2B5EF4-FFF2-40B4-BE49-F238E27FC236}">
                <a16:creationId xmlns:a16="http://schemas.microsoft.com/office/drawing/2014/main" id="{E445D490-D726-40C5-B04D-B87A388E9339}"/>
              </a:ext>
            </a:extLst>
          </p:cNvPr>
          <p:cNvGrpSpPr/>
          <p:nvPr/>
        </p:nvGrpSpPr>
        <p:grpSpPr>
          <a:xfrm>
            <a:off x="410431" y="309109"/>
            <a:ext cx="5150524" cy="369094"/>
            <a:chOff x="410431" y="309109"/>
            <a:chExt cx="5150524" cy="369094"/>
          </a:xfrm>
        </p:grpSpPr>
        <p:sp>
          <p:nvSpPr>
            <p:cNvPr id="13" name="Google Shape;603;p14">
              <a:extLst>
                <a:ext uri="{FF2B5EF4-FFF2-40B4-BE49-F238E27FC236}">
                  <a16:creationId xmlns:a16="http://schemas.microsoft.com/office/drawing/2014/main" id="{8589A355-6709-46C4-9E8D-20EBC64C96B2}"/>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3</a:t>
              </a:r>
              <a:endParaRPr lang="en-US" sz="1200" b="0" i="0" u="none" strike="noStrike" cap="none">
                <a:solidFill>
                  <a:srgbClr val="FFFFFF"/>
                </a:solidFill>
                <a:latin typeface="PT Serif"/>
                <a:ea typeface="Arial"/>
                <a:cs typeface="Arial"/>
              </a:endParaRPr>
            </a:p>
          </p:txBody>
        </p:sp>
        <p:sp>
          <p:nvSpPr>
            <p:cNvPr id="14" name="Google Shape;604;p14">
              <a:extLst>
                <a:ext uri="{FF2B5EF4-FFF2-40B4-BE49-F238E27FC236}">
                  <a16:creationId xmlns:a16="http://schemas.microsoft.com/office/drawing/2014/main" id="{8A017AD3-D1D6-485C-A326-F88A08E5D18A}"/>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PRODUCT</a:t>
              </a:r>
              <a:endParaRPr lang="en-US"/>
            </a:p>
          </p:txBody>
        </p:sp>
      </p:grpSp>
      <p:sp>
        <p:nvSpPr>
          <p:cNvPr id="3" name="Google Shape;470;p9">
            <a:extLst>
              <a:ext uri="{FF2B5EF4-FFF2-40B4-BE49-F238E27FC236}">
                <a16:creationId xmlns:a16="http://schemas.microsoft.com/office/drawing/2014/main" id="{70028C8A-C6FA-4CD2-92DD-340A37231D5E}"/>
              </a:ext>
            </a:extLst>
          </p:cNvPr>
          <p:cNvSpPr txBox="1"/>
          <p:nvPr/>
        </p:nvSpPr>
        <p:spPr>
          <a:xfrm>
            <a:off x="10862275" y="6408650"/>
            <a:ext cx="778550" cy="27695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Product</a:t>
            </a:r>
            <a:endParaRPr lang="en-US"/>
          </a:p>
        </p:txBody>
      </p:sp>
      <p:sp>
        <p:nvSpPr>
          <p:cNvPr id="7" name="Google Shape;337;p6">
            <a:extLst>
              <a:ext uri="{FF2B5EF4-FFF2-40B4-BE49-F238E27FC236}">
                <a16:creationId xmlns:a16="http://schemas.microsoft.com/office/drawing/2014/main" id="{C840A1AA-DEE9-4A69-BC08-B46800497F9A}"/>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05 Sprint 5 Demo</a:t>
            </a:r>
            <a:endParaRPr sz="1200" b="0" i="0" u="none" strike="noStrike" cap="none">
              <a:solidFill>
                <a:srgbClr val="747C74"/>
              </a:solidFill>
              <a:latin typeface="Calibri"/>
              <a:ea typeface="Calibri"/>
              <a:cs typeface="Calibri"/>
              <a:sym typeface="Calibri"/>
            </a:endParaRPr>
          </a:p>
        </p:txBody>
      </p:sp>
      <p:sp>
        <p:nvSpPr>
          <p:cNvPr id="16" name="Google Shape;606;p14">
            <a:extLst>
              <a:ext uri="{FF2B5EF4-FFF2-40B4-BE49-F238E27FC236}">
                <a16:creationId xmlns:a16="http://schemas.microsoft.com/office/drawing/2014/main" id="{06D1BAE6-275A-40C2-ABFA-22E1B96BE960}"/>
              </a:ext>
            </a:extLst>
          </p:cNvPr>
          <p:cNvSpPr txBox="1">
            <a:spLocks noGrp="1"/>
          </p:cNvSpPr>
          <p:nvPr/>
        </p:nvSpPr>
        <p:spPr>
          <a:xfrm>
            <a:off x="330925" y="2847718"/>
            <a:ext cx="3932557" cy="326385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228600" indent="-228600">
              <a:lnSpc>
                <a:spcPct val="120000"/>
              </a:lnSpc>
            </a:pPr>
            <a:r>
              <a:rPr lang="en-US" sz="1200"/>
              <a:t>The IRS created a new 1095-B PDF that passed all but one Adobe accessibility test (Table Regularity)</a:t>
            </a:r>
          </a:p>
          <a:p>
            <a:pPr marL="228600" indent="-228600">
              <a:lnSpc>
                <a:spcPct val="120000"/>
              </a:lnSpc>
            </a:pPr>
            <a:r>
              <a:rPr lang="en-US" sz="1200"/>
              <a:t>When we populate it with data and create a new file, we get several new errors</a:t>
            </a:r>
          </a:p>
          <a:p>
            <a:pPr marL="685800" lvl="1">
              <a:lnSpc>
                <a:spcPct val="120000"/>
              </a:lnSpc>
            </a:pPr>
            <a:r>
              <a:rPr lang="en-US" sz="1000"/>
              <a:t>Primary language</a:t>
            </a:r>
          </a:p>
          <a:p>
            <a:pPr marL="685800" lvl="1">
              <a:lnSpc>
                <a:spcPct val="120000"/>
              </a:lnSpc>
            </a:pPr>
            <a:r>
              <a:rPr lang="en-US" sz="1000"/>
              <a:t>Title</a:t>
            </a:r>
          </a:p>
          <a:p>
            <a:pPr marL="685800" lvl="1">
              <a:lnSpc>
                <a:spcPct val="120000"/>
              </a:lnSpc>
            </a:pPr>
            <a:r>
              <a:rPr lang="en-US" sz="1000"/>
              <a:t>Tab order</a:t>
            </a:r>
          </a:p>
          <a:p>
            <a:pPr marL="685800" lvl="1">
              <a:lnSpc>
                <a:spcPct val="120000"/>
              </a:lnSpc>
            </a:pPr>
            <a:r>
              <a:rPr lang="en-US" sz="1000"/>
              <a:t>Tagged form fields</a:t>
            </a:r>
          </a:p>
          <a:p>
            <a:pPr marL="685800" lvl="1">
              <a:lnSpc>
                <a:spcPct val="120000"/>
              </a:lnSpc>
            </a:pPr>
            <a:r>
              <a:rPr lang="en-US" sz="1000"/>
              <a:t>Regularity</a:t>
            </a:r>
          </a:p>
          <a:p>
            <a:pPr marL="228600" indent="-228600">
              <a:lnSpc>
                <a:spcPct val="120000"/>
              </a:lnSpc>
            </a:pPr>
            <a:r>
              <a:rPr lang="en-US" sz="1200"/>
              <a:t>We have submitted the PDF for a 508 audit, with details of our efforts, to the VA's 508 office, in hopes they can give further guidance</a:t>
            </a:r>
          </a:p>
          <a:p>
            <a:pPr marL="228600" indent="-228600">
              <a:lnSpc>
                <a:spcPct val="120000"/>
              </a:lnSpc>
            </a:pPr>
            <a:endParaRPr lang="en-US" sz="1200"/>
          </a:p>
        </p:txBody>
      </p:sp>
      <p:pic>
        <p:nvPicPr>
          <p:cNvPr id="4" name="Picture 5" descr="Graphical user interface, application&#10;&#10;Description automatically generated">
            <a:extLst>
              <a:ext uri="{FF2B5EF4-FFF2-40B4-BE49-F238E27FC236}">
                <a16:creationId xmlns:a16="http://schemas.microsoft.com/office/drawing/2014/main" id="{42EA391A-1865-00F6-A513-7451C70F9F89}"/>
              </a:ext>
            </a:extLst>
          </p:cNvPr>
          <p:cNvPicPr>
            <a:picLocks noChangeAspect="1"/>
          </p:cNvPicPr>
          <p:nvPr/>
        </p:nvPicPr>
        <p:blipFill rotWithShape="1">
          <a:blip r:embed="rId11"/>
          <a:srcRect r="9512"/>
          <a:stretch/>
        </p:blipFill>
        <p:spPr>
          <a:xfrm>
            <a:off x="6096000" y="1763391"/>
            <a:ext cx="5335745" cy="3415660"/>
          </a:xfrm>
          <a:prstGeom prst="rect">
            <a:avLst/>
          </a:prstGeom>
          <a:ln w="12700">
            <a:solidFill>
              <a:schemeClr val="tx1">
                <a:lumMod val="10000"/>
                <a:lumOff val="90000"/>
              </a:schemeClr>
            </a:solidFill>
          </a:ln>
        </p:spPr>
      </p:pic>
      <p:sp>
        <p:nvSpPr>
          <p:cNvPr id="15" name="Google Shape;641;p16">
            <a:extLst>
              <a:ext uri="{FF2B5EF4-FFF2-40B4-BE49-F238E27FC236}">
                <a16:creationId xmlns:a16="http://schemas.microsoft.com/office/drawing/2014/main" id="{0FE28857-EB53-498A-9EED-560FE4996A1D}"/>
              </a:ext>
            </a:extLst>
          </p:cNvPr>
          <p:cNvSpPr txBox="1"/>
          <p:nvPr/>
        </p:nvSpPr>
        <p:spPr>
          <a:xfrm>
            <a:off x="7928520" y="6109251"/>
            <a:ext cx="3942037" cy="461624"/>
          </a:xfrm>
          <a:prstGeom prst="rect">
            <a:avLst/>
          </a:prstGeom>
          <a:noFill/>
          <a:ln>
            <a:noFill/>
          </a:ln>
        </p:spPr>
        <p:txBody>
          <a:bodyPr spcFirstLastPara="1" wrap="square" lIns="91425" tIns="45700" rIns="91425" bIns="45700" anchor="t" anchorCtr="0">
            <a:spAutoFit/>
          </a:bodyPr>
          <a:lstStyle/>
          <a:p>
            <a:pPr lvl="1" algn="r">
              <a:buSzPts val="1400"/>
            </a:pPr>
            <a:r>
              <a:rPr lang="en-US" sz="1200" b="0" i="0" strike="noStrike" cap="none">
                <a:solidFill>
                  <a:srgbClr val="000000"/>
                </a:solidFill>
                <a:latin typeface="Source Sans Pro"/>
                <a:ea typeface="Source Sans Pro"/>
                <a:sym typeface="Arial"/>
                <a:hlinkClick r:id="rId12"/>
              </a:rPr>
              <a:t>Testing</a:t>
            </a:r>
            <a:r>
              <a:rPr lang="en-US" sz="1200" b="0" i="0" strike="noStrike" cap="none">
                <a:solidFill>
                  <a:srgbClr val="000000"/>
                </a:solidFill>
                <a:latin typeface="Source Sans Pro"/>
                <a:ea typeface="Source Sans Pro"/>
                <a:sym typeface="Arial"/>
              </a:rPr>
              <a:t>, </a:t>
            </a:r>
            <a:r>
              <a:rPr lang="en-US" sz="1200" b="0" i="0" strike="noStrike" cap="none">
                <a:solidFill>
                  <a:srgbClr val="000000"/>
                </a:solidFill>
                <a:latin typeface="Source Sans Pro"/>
                <a:ea typeface="Source Sans Pro"/>
                <a:sym typeface="Arial"/>
                <a:hlinkClick r:id="rId8"/>
              </a:rPr>
              <a:t>prestaging tests</a:t>
            </a:r>
            <a:r>
              <a:rPr lang="en-US" sz="1200" b="0" i="0" strike="noStrike" cap="none">
                <a:solidFill>
                  <a:srgbClr val="000000"/>
                </a:solidFill>
                <a:latin typeface="Source Sans Pro"/>
                <a:ea typeface="Source Sans Pro"/>
                <a:sym typeface="Arial"/>
              </a:rPr>
              <a:t>, </a:t>
            </a:r>
            <a:r>
              <a:rPr lang="en-US" sz="1200" b="0" i="0" strike="noStrike" cap="none">
                <a:solidFill>
                  <a:srgbClr val="000000"/>
                </a:solidFill>
                <a:latin typeface="Source Sans Pro"/>
                <a:ea typeface="Source Sans Pro"/>
                <a:sym typeface="Arial"/>
                <a:hlinkClick r:id="rId13"/>
              </a:rPr>
              <a:t>p</a:t>
            </a:r>
            <a:r>
              <a:rPr lang="en-US" sz="1200">
                <a:latin typeface="Source Sans Pro"/>
                <a:ea typeface="Source Sans Pro"/>
                <a:hlinkClick r:id="rId13"/>
              </a:rPr>
              <a:t>latform guidance </a:t>
            </a:r>
            <a:r>
              <a:rPr lang="en-US" sz="1200">
                <a:latin typeface="Source Sans Pro"/>
                <a:ea typeface="Source Sans Pro"/>
              </a:rPr>
              <a:t>&amp; </a:t>
            </a:r>
            <a:r>
              <a:rPr lang="en-US" sz="1200">
                <a:latin typeface="Source Sans Pro"/>
                <a:ea typeface="Source Sans Pro"/>
                <a:hlinkClick r:id="rId12"/>
              </a:rPr>
              <a:t>your IT</a:t>
            </a:r>
            <a:r>
              <a:rPr lang="en-US" sz="1200" b="0" i="0" strike="noStrike" cap="none">
                <a:solidFill>
                  <a:srgbClr val="000000"/>
                </a:solidFill>
                <a:latin typeface="Source Sans Pro"/>
                <a:ea typeface="Source Sans Pro"/>
                <a:sym typeface="Arial"/>
                <a:hlinkClick r:id="rId12"/>
              </a:rPr>
              <a:t> ticket</a:t>
            </a:r>
            <a:endParaRPr lang="en-US" sz="1200" b="0" i="0" strike="noStrike" cap="none">
              <a:solidFill>
                <a:srgbClr val="000000"/>
              </a:solidFill>
              <a:latin typeface="Source Sans Pro"/>
              <a:ea typeface="Source Sans Pro"/>
              <a:sym typeface="Aria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571"/>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10A9AC-54F5-49DC-A7BD-C965E66336E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5"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710A9AC-54F5-49DC-A7BD-C965E66336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2" name="Google Shape;572;p12"/>
          <p:cNvSpPr txBox="1">
            <a:spLocks noGrp="1"/>
          </p:cNvSpPr>
          <p:nvPr>
            <p:ph type="title"/>
          </p:nvPr>
        </p:nvSpPr>
        <p:spPr>
          <a:xfrm>
            <a:off x="416755" y="750806"/>
            <a:ext cx="8979355" cy="1012585"/>
          </a:xfrm>
          <a:prstGeom prst="rect">
            <a:avLst/>
          </a:prstGeom>
          <a:noFill/>
          <a:ln>
            <a:noFill/>
          </a:ln>
        </p:spPr>
        <p:txBody>
          <a:bodyPr spcFirstLastPara="1" wrap="square" lIns="0" tIns="0" rIns="0" bIns="0" anchor="t" anchorCtr="0">
            <a:noAutofit/>
          </a:bodyPr>
          <a:lstStyle/>
          <a:p>
            <a:r>
              <a:rPr lang="en-US" sz="2800"/>
              <a:t>We laid the groundwork for opting into digital delivery and helped start the process for Profile to build opt in</a:t>
            </a:r>
            <a:endParaRPr sz="3200"/>
          </a:p>
        </p:txBody>
      </p:sp>
      <p:sp>
        <p:nvSpPr>
          <p:cNvPr id="573" name="Google Shape;573;p12"/>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3</a:t>
            </a:fld>
            <a:endParaRPr sz="1200" b="0" i="0" u="none" strike="noStrike" cap="none">
              <a:solidFill>
                <a:srgbClr val="8A8A8A"/>
              </a:solidFill>
              <a:latin typeface="Source Sans Pro"/>
              <a:ea typeface="Source Sans Pro"/>
              <a:cs typeface="Source Sans Pro"/>
              <a:sym typeface="Source Sans Pro"/>
            </a:endParaRPr>
          </a:p>
        </p:txBody>
      </p:sp>
      <p:sp>
        <p:nvSpPr>
          <p:cNvPr id="575" name="Google Shape;575;p12"/>
          <p:cNvSpPr txBox="1"/>
          <p:nvPr/>
        </p:nvSpPr>
        <p:spPr>
          <a:xfrm>
            <a:off x="8422481" y="6065709"/>
            <a:ext cx="3435348"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b="0" i="0" strike="noStrike" cap="none">
                <a:latin typeface="Source Sans Pro"/>
                <a:ea typeface="Source Sans Pro"/>
                <a:hlinkClick r:id="rId7"/>
              </a:rPr>
              <a:t>Draft opt-in templates</a:t>
            </a:r>
            <a:r>
              <a:rPr lang="en-US" sz="1200">
                <a:latin typeface="Source Sans Pro"/>
                <a:ea typeface="Source Sans Pro"/>
              </a:rPr>
              <a:t>,</a:t>
            </a:r>
            <a:r>
              <a:rPr lang="en-US" sz="1200" b="0" i="0" strike="noStrike" cap="none">
                <a:latin typeface="Source Sans Pro"/>
                <a:ea typeface="Source Sans Pro"/>
              </a:rPr>
              <a:t> </a:t>
            </a:r>
            <a:r>
              <a:rPr lang="en-US" sz="1200" b="0" i="0" strike="noStrike" cap="none">
                <a:latin typeface="Source Sans Pro"/>
                <a:ea typeface="Source Sans Pro"/>
                <a:hlinkClick r:id="rId8"/>
              </a:rPr>
              <a:t>ticket</a:t>
            </a:r>
            <a:r>
              <a:rPr lang="en-US" sz="1200" b="0" i="0" strike="noStrike" cap="none">
                <a:latin typeface="Source Sans Pro"/>
                <a:ea typeface="Source Sans Pro"/>
              </a:rPr>
              <a:t> &amp; </a:t>
            </a:r>
            <a:r>
              <a:rPr lang="en-US" sz="1200" b="0" i="0" strike="noStrike" cap="none">
                <a:latin typeface="Source Sans Pro"/>
                <a:ea typeface="Source Sans Pro"/>
                <a:hlinkClick r:id="rId9"/>
              </a:rPr>
              <a:t>update 4/4</a:t>
            </a:r>
            <a:endParaRPr lang="en-US" sz="1200" b="0" i="0" strike="noStrike" cap="none">
              <a:solidFill>
                <a:srgbClr val="000000"/>
              </a:solidFill>
              <a:latin typeface="Source Sans Pro"/>
              <a:ea typeface="Source Sans Pro"/>
              <a:sym typeface="Arial"/>
            </a:endParaRPr>
          </a:p>
        </p:txBody>
      </p:sp>
      <p:sp>
        <p:nvSpPr>
          <p:cNvPr id="579" name="Google Shape;579;p12"/>
          <p:cNvSpPr txBox="1"/>
          <p:nvPr/>
        </p:nvSpPr>
        <p:spPr>
          <a:xfrm>
            <a:off x="438912" y="1709928"/>
            <a:ext cx="11353800" cy="495520"/>
          </a:xfrm>
          <a:prstGeom prst="rect">
            <a:avLst/>
          </a:prstGeom>
          <a:noFill/>
          <a:ln>
            <a:noFill/>
          </a:ln>
        </p:spPr>
        <p:txBody>
          <a:bodyPr spcFirstLastPara="1" wrap="square" lIns="0" tIns="0" rIns="0" bIns="0" anchor="t" anchorCtr="0">
            <a:spAutoFit/>
          </a:bodyPr>
          <a:lstStyle/>
          <a:p>
            <a:pPr>
              <a:lnSpc>
                <a:spcPct val="115000"/>
              </a:lnSpc>
              <a:buClr>
                <a:schemeClr val="dk2"/>
              </a:buClr>
              <a:buSzPts val="1400"/>
            </a:pPr>
            <a:r>
              <a:rPr lang="en-US" b="0" i="0" strike="noStrike" cap="none">
                <a:solidFill>
                  <a:schemeClr val="tx1"/>
                </a:solidFill>
                <a:latin typeface="PT Serif"/>
                <a:ea typeface="PT Serif"/>
                <a:cs typeface="PT Serif"/>
                <a:sym typeface="PT Serif"/>
                <a:hlinkClick r:id="rId10"/>
              </a:rPr>
              <a:t>User Story</a:t>
            </a:r>
            <a:r>
              <a:rPr lang="en-US" b="0" i="0" strike="noStrike" cap="none">
                <a:solidFill>
                  <a:schemeClr val="tx1"/>
                </a:solidFill>
                <a:latin typeface="PT Serif"/>
                <a:ea typeface="PT Serif"/>
                <a:cs typeface="PT Serif"/>
                <a:sym typeface="PT Serif"/>
              </a:rPr>
              <a:t>: </a:t>
            </a:r>
            <a:r>
              <a:rPr lang="en-US" b="0" i="0" strike="noStrike" cap="none">
                <a:solidFill>
                  <a:srgbClr val="8F8F8F"/>
                </a:solidFill>
                <a:latin typeface="PT Serif"/>
                <a:ea typeface="PT Serif"/>
                <a:cs typeface="PT Serif"/>
                <a:sym typeface="PT Serif"/>
              </a:rPr>
              <a:t>S</a:t>
            </a:r>
            <a:r>
              <a:rPr lang="en-US">
                <a:solidFill>
                  <a:srgbClr val="8F8F8F"/>
                </a:solidFill>
                <a:latin typeface="PT Serif"/>
                <a:ea typeface="PT Serif"/>
                <a:cs typeface="PT Serif"/>
                <a:sym typeface="PT Serif"/>
              </a:rPr>
              <a:t>ubmit intake forms for VA Profiles (opt-in)</a:t>
            </a:r>
          </a:p>
          <a:p>
            <a:pPr>
              <a:lnSpc>
                <a:spcPct val="115000"/>
              </a:lnSpc>
              <a:buClr>
                <a:schemeClr val="dk2"/>
              </a:buClr>
              <a:buSzPts val="1400"/>
            </a:pPr>
            <a:r>
              <a:rPr lang="en-US" b="0" i="0" strike="noStrike" cap="none">
                <a:solidFill>
                  <a:schemeClr val="tx1"/>
                </a:solidFill>
                <a:latin typeface="PT Serif"/>
                <a:ea typeface="PT Serif"/>
                <a:cs typeface="PT Serif"/>
                <a:sym typeface="PT Serif"/>
                <a:hlinkClick r:id="rId11"/>
              </a:rPr>
              <a:t>User Story</a:t>
            </a:r>
            <a:r>
              <a:rPr lang="en-US" b="0" i="0" strike="noStrike" cap="none">
                <a:solidFill>
                  <a:schemeClr val="tx1"/>
                </a:solidFill>
                <a:latin typeface="PT Serif"/>
                <a:ea typeface="PT Serif"/>
                <a:cs typeface="PT Serif"/>
                <a:sym typeface="PT Serif"/>
              </a:rPr>
              <a:t>: </a:t>
            </a:r>
            <a:r>
              <a:rPr lang="en-US">
                <a:solidFill>
                  <a:srgbClr val="8F8F8F"/>
                </a:solidFill>
                <a:latin typeface="PT Serif"/>
                <a:ea typeface="PT Serif"/>
                <a:cs typeface="PT Serif"/>
                <a:sym typeface="PT Serif"/>
              </a:rPr>
              <a:t>D</a:t>
            </a:r>
            <a:r>
              <a:rPr lang="en-US" b="0" i="0" strike="noStrike" cap="none">
                <a:solidFill>
                  <a:srgbClr val="8F8F8F"/>
                </a:solidFill>
                <a:latin typeface="PT Serif"/>
                <a:ea typeface="PT Serif"/>
                <a:cs typeface="PT Serif"/>
                <a:sym typeface="PT Serif"/>
              </a:rPr>
              <a:t>raft </a:t>
            </a:r>
            <a:r>
              <a:rPr lang="en-US">
                <a:solidFill>
                  <a:srgbClr val="8F8F8F"/>
                </a:solidFill>
                <a:latin typeface="PT Serif"/>
                <a:ea typeface="PT Serif"/>
                <a:cs typeface="PT Serif"/>
                <a:sym typeface="PT Serif"/>
              </a:rPr>
              <a:t>email for opt-in notification requirements</a:t>
            </a:r>
          </a:p>
        </p:txBody>
      </p:sp>
      <p:grpSp>
        <p:nvGrpSpPr>
          <p:cNvPr id="2" name="Google Shape;602;p14">
            <a:extLst>
              <a:ext uri="{FF2B5EF4-FFF2-40B4-BE49-F238E27FC236}">
                <a16:creationId xmlns:a16="http://schemas.microsoft.com/office/drawing/2014/main" id="{E445D490-D726-40C5-B04D-B87A388E9339}"/>
              </a:ext>
            </a:extLst>
          </p:cNvPr>
          <p:cNvGrpSpPr/>
          <p:nvPr/>
        </p:nvGrpSpPr>
        <p:grpSpPr>
          <a:xfrm>
            <a:off x="410431" y="309109"/>
            <a:ext cx="5150524" cy="369094"/>
            <a:chOff x="410431" y="309109"/>
            <a:chExt cx="5150524" cy="369094"/>
          </a:xfrm>
        </p:grpSpPr>
        <p:sp>
          <p:nvSpPr>
            <p:cNvPr id="13" name="Google Shape;603;p14">
              <a:extLst>
                <a:ext uri="{FF2B5EF4-FFF2-40B4-BE49-F238E27FC236}">
                  <a16:creationId xmlns:a16="http://schemas.microsoft.com/office/drawing/2014/main" id="{8589A355-6709-46C4-9E8D-20EBC64C96B2}"/>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3</a:t>
              </a:r>
              <a:endParaRPr lang="en-US" sz="1200" b="0" i="0" u="none" strike="noStrike" cap="none">
                <a:solidFill>
                  <a:srgbClr val="FFFFFF"/>
                </a:solidFill>
                <a:latin typeface="PT Serif"/>
                <a:ea typeface="Arial"/>
                <a:cs typeface="Arial"/>
              </a:endParaRPr>
            </a:p>
          </p:txBody>
        </p:sp>
        <p:sp>
          <p:nvSpPr>
            <p:cNvPr id="14" name="Google Shape;604;p14">
              <a:extLst>
                <a:ext uri="{FF2B5EF4-FFF2-40B4-BE49-F238E27FC236}">
                  <a16:creationId xmlns:a16="http://schemas.microsoft.com/office/drawing/2014/main" id="{8A017AD3-D1D6-485C-A326-F88A08E5D18A}"/>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PRODUCT</a:t>
              </a:r>
              <a:endParaRPr lang="en-US"/>
            </a:p>
          </p:txBody>
        </p:sp>
      </p:grpSp>
      <p:sp>
        <p:nvSpPr>
          <p:cNvPr id="3" name="Google Shape;470;p9">
            <a:extLst>
              <a:ext uri="{FF2B5EF4-FFF2-40B4-BE49-F238E27FC236}">
                <a16:creationId xmlns:a16="http://schemas.microsoft.com/office/drawing/2014/main" id="{70028C8A-C6FA-4CD2-92DD-340A37231D5E}"/>
              </a:ext>
            </a:extLst>
          </p:cNvPr>
          <p:cNvSpPr txBox="1"/>
          <p:nvPr/>
        </p:nvSpPr>
        <p:spPr>
          <a:xfrm>
            <a:off x="10862275" y="6408650"/>
            <a:ext cx="778550" cy="27695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Product</a:t>
            </a:r>
            <a:endParaRPr lang="en-US"/>
          </a:p>
        </p:txBody>
      </p:sp>
      <p:sp>
        <p:nvSpPr>
          <p:cNvPr id="7" name="Google Shape;337;p6">
            <a:extLst>
              <a:ext uri="{FF2B5EF4-FFF2-40B4-BE49-F238E27FC236}">
                <a16:creationId xmlns:a16="http://schemas.microsoft.com/office/drawing/2014/main" id="{C840A1AA-DEE9-4A69-BC08-B46800497F9A}"/>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05 Sprint 5 Demo</a:t>
            </a:r>
            <a:endParaRPr sz="1200" b="0" i="0" u="none" strike="noStrike" cap="none">
              <a:solidFill>
                <a:srgbClr val="747C74"/>
              </a:solidFill>
              <a:latin typeface="Calibri"/>
              <a:ea typeface="Calibri"/>
              <a:cs typeface="Calibri"/>
              <a:sym typeface="Calibri"/>
            </a:endParaRPr>
          </a:p>
        </p:txBody>
      </p:sp>
      <p:sp>
        <p:nvSpPr>
          <p:cNvPr id="15" name="Google Shape;606;p14">
            <a:extLst>
              <a:ext uri="{FF2B5EF4-FFF2-40B4-BE49-F238E27FC236}">
                <a16:creationId xmlns:a16="http://schemas.microsoft.com/office/drawing/2014/main" id="{C4C62486-463F-4FC0-B499-CE49552602ED}"/>
              </a:ext>
            </a:extLst>
          </p:cNvPr>
          <p:cNvSpPr txBox="1">
            <a:spLocks noGrp="1"/>
          </p:cNvSpPr>
          <p:nvPr/>
        </p:nvSpPr>
        <p:spPr>
          <a:xfrm>
            <a:off x="6636162" y="2061594"/>
            <a:ext cx="4615388" cy="3263855"/>
          </a:xfrm>
          <a:prstGeom prst="rect">
            <a:avLst/>
          </a:prstGeom>
          <a:noFill/>
          <a:ln>
            <a:noFill/>
          </a:ln>
        </p:spPr>
        <p:txBody>
          <a:bodyPr spcFirstLastPara="1" wrap="square" lIns="91425" tIns="45700" rIns="91425" bIns="45700" anchor="t" anchorCtr="0">
            <a:normAutofit fontScale="85000" lnSpcReduction="10000"/>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39700" indent="0">
              <a:lnSpc>
                <a:spcPct val="120000"/>
              </a:lnSpc>
              <a:buNone/>
            </a:pPr>
            <a:r>
              <a:rPr lang="en-US" sz="1200" b="1"/>
              <a:t>From:</a:t>
            </a:r>
            <a:r>
              <a:rPr lang="en-US" sz="1200"/>
              <a:t> U.S. Department of Veteran Affairs</a:t>
            </a:r>
          </a:p>
          <a:p>
            <a:pPr marL="139700" indent="0">
              <a:lnSpc>
                <a:spcPct val="120000"/>
              </a:lnSpc>
              <a:buNone/>
            </a:pPr>
            <a:r>
              <a:rPr lang="en-US" sz="1200" b="1"/>
              <a:t>Subject:</a:t>
            </a:r>
            <a:r>
              <a:rPr lang="en-US" sz="1200"/>
              <a:t> Your IRS 1095-B tax form is now available online</a:t>
            </a:r>
          </a:p>
          <a:p>
            <a:pPr marL="139700" indent="0">
              <a:lnSpc>
                <a:spcPct val="120000"/>
              </a:lnSpc>
              <a:buNone/>
            </a:pPr>
            <a:r>
              <a:rPr lang="en-US" sz="1200"/>
              <a:t>Dear [First_Name],</a:t>
            </a:r>
          </a:p>
          <a:p>
            <a:pPr marL="139700" indent="0">
              <a:lnSpc>
                <a:spcPct val="120000"/>
              </a:lnSpc>
              <a:buNone/>
            </a:pPr>
            <a:r>
              <a:rPr lang="en-US" sz="1200"/>
              <a:t>In an effort to reduce paper and provide more convenient options for Veterans to access documents, we have now made the IRS 1095-B tax form (proof of health coverage) available online. Visit </a:t>
            </a:r>
            <a:r>
              <a:rPr lang="en-US" sz="1200" u="sng">
                <a:hlinkClick r:id="rId12"/>
              </a:rPr>
              <a:t>https://www.va.gov/records/download-your-irs-1095-b</a:t>
            </a:r>
            <a:r>
              <a:rPr lang="en-US" sz="1200"/>
              <a:t> to download and/or print a copy of this form for your records.</a:t>
            </a:r>
          </a:p>
          <a:p>
            <a:pPr marL="139700" indent="0">
              <a:lnSpc>
                <a:spcPct val="120000"/>
              </a:lnSpc>
              <a:buNone/>
            </a:pPr>
            <a:r>
              <a:rPr lang="en-US" sz="1200" b="1"/>
              <a:t>Go Paperless. </a:t>
            </a:r>
            <a:r>
              <a:rPr lang="en-US" sz="1200"/>
              <a:t>If you would like to opt-in to paperless delivery and no longer receive your 1095-B in the mail, please update your notification preferences in your profile at: </a:t>
            </a:r>
            <a:r>
              <a:rPr lang="en-US" sz="1200" u="sng">
                <a:hlinkClick r:id="rId13"/>
              </a:rPr>
              <a:t>https://va.gov/profile/notifications</a:t>
            </a:r>
            <a:endParaRPr lang="en-US" sz="1200"/>
          </a:p>
          <a:p>
            <a:pPr marL="139700" indent="0">
              <a:lnSpc>
                <a:spcPct val="120000"/>
              </a:lnSpc>
              <a:buNone/>
            </a:pPr>
            <a:r>
              <a:rPr lang="en-US" sz="1200"/>
              <a:t>Thank you,</a:t>
            </a:r>
          </a:p>
          <a:p>
            <a:pPr marL="139700" indent="0">
              <a:lnSpc>
                <a:spcPct val="120000"/>
              </a:lnSpc>
              <a:buNone/>
            </a:pPr>
            <a:r>
              <a:rPr lang="en-US" sz="1200"/>
              <a:t>VA.gov</a:t>
            </a:r>
          </a:p>
        </p:txBody>
      </p:sp>
      <p:pic>
        <p:nvPicPr>
          <p:cNvPr id="9" name="Picture 8">
            <a:extLst>
              <a:ext uri="{FF2B5EF4-FFF2-40B4-BE49-F238E27FC236}">
                <a16:creationId xmlns:a16="http://schemas.microsoft.com/office/drawing/2014/main" id="{3848CF10-59F7-42DA-AB47-C24BD859DBFB}"/>
              </a:ext>
            </a:extLst>
          </p:cNvPr>
          <p:cNvPicPr>
            <a:picLocks noChangeAspect="1"/>
          </p:cNvPicPr>
          <p:nvPr/>
        </p:nvPicPr>
        <p:blipFill rotWithShape="1">
          <a:blip r:embed="rId14"/>
          <a:srcRect b="4090"/>
          <a:stretch/>
        </p:blipFill>
        <p:spPr>
          <a:xfrm>
            <a:off x="438912" y="2592672"/>
            <a:ext cx="5040107" cy="3196868"/>
          </a:xfrm>
          <a:prstGeom prst="rect">
            <a:avLst/>
          </a:prstGeom>
          <a:ln>
            <a:solidFill>
              <a:schemeClr val="tx1">
                <a:lumMod val="10000"/>
                <a:lumOff val="90000"/>
              </a:schemeClr>
            </a:solidFill>
          </a:ln>
        </p:spPr>
      </p:pic>
      <p:sp>
        <p:nvSpPr>
          <p:cNvPr id="11" name="TextBox 10">
            <a:extLst>
              <a:ext uri="{FF2B5EF4-FFF2-40B4-BE49-F238E27FC236}">
                <a16:creationId xmlns:a16="http://schemas.microsoft.com/office/drawing/2014/main" id="{F13F0CCB-25F8-472D-B660-682063222549}"/>
              </a:ext>
            </a:extLst>
          </p:cNvPr>
          <p:cNvSpPr txBox="1"/>
          <p:nvPr/>
        </p:nvSpPr>
        <p:spPr>
          <a:xfrm>
            <a:off x="6475384" y="1957688"/>
            <a:ext cx="4776166" cy="3860261"/>
          </a:xfrm>
          <a:prstGeom prst="rect">
            <a:avLst/>
          </a:prstGeom>
          <a:noFill/>
          <a:ln w="12700">
            <a:solidFill>
              <a:schemeClr val="tx1">
                <a:lumMod val="10000"/>
                <a:lumOff val="90000"/>
              </a:schemeClr>
            </a:solidFill>
          </a:ln>
        </p:spPr>
        <p:txBody>
          <a:bodyPr wrap="square" rtlCol="0">
            <a:spAutoFit/>
          </a:bodyPr>
          <a:lstStyle/>
          <a:p>
            <a:endParaRPr lang="en-US"/>
          </a:p>
        </p:txBody>
      </p:sp>
    </p:spTree>
    <p:extLst>
      <p:ext uri="{BB962C8B-B14F-4D97-AF65-F5344CB8AC3E}">
        <p14:creationId xmlns:p14="http://schemas.microsoft.com/office/powerpoint/2010/main" val="8745733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944BA5-58B4-490C-B2A2-09063358B2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3"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09944BA5-58B4-490C-B2A2-09063358B2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5921D8-9182-46DA-BF73-3160B3589AF0}"/>
              </a:ext>
            </a:extLst>
          </p:cNvPr>
          <p:cNvSpPr>
            <a:spLocks noGrp="1"/>
          </p:cNvSpPr>
          <p:nvPr>
            <p:ph type="title"/>
          </p:nvPr>
        </p:nvSpPr>
        <p:spPr>
          <a:xfrm>
            <a:off x="302632" y="372559"/>
            <a:ext cx="8057103" cy="1325563"/>
          </a:xfrm>
          <a:noFill/>
        </p:spPr>
        <p:txBody>
          <a:bodyPr vert="horz"/>
          <a:lstStyle/>
          <a:p>
            <a:r>
              <a:rPr lang="en-GB"/>
              <a:t>Blockers for 1095-B launch</a:t>
            </a:r>
          </a:p>
        </p:txBody>
      </p:sp>
      <p:graphicFrame>
        <p:nvGraphicFramePr>
          <p:cNvPr id="23" name="Google Shape;930;p28">
            <a:extLst>
              <a:ext uri="{FF2B5EF4-FFF2-40B4-BE49-F238E27FC236}">
                <a16:creationId xmlns:a16="http://schemas.microsoft.com/office/drawing/2014/main" id="{F4A84191-3BFB-48AA-A343-19DE4EA3891C}"/>
              </a:ext>
            </a:extLst>
          </p:cNvPr>
          <p:cNvGraphicFramePr/>
          <p:nvPr>
            <p:extLst>
              <p:ext uri="{D42A27DB-BD31-4B8C-83A1-F6EECF244321}">
                <p14:modId xmlns:p14="http://schemas.microsoft.com/office/powerpoint/2010/main" val="703185945"/>
              </p:ext>
            </p:extLst>
          </p:nvPr>
        </p:nvGraphicFramePr>
        <p:xfrm>
          <a:off x="407023" y="1041535"/>
          <a:ext cx="11360001" cy="4314787"/>
        </p:xfrm>
        <a:graphic>
          <a:graphicData uri="http://schemas.openxmlformats.org/drawingml/2006/table">
            <a:tbl>
              <a:tblPr>
                <a:noFill/>
                <a:tableStyleId>{1F4BC13E-62C9-4DB2-9D77-78E559E1D0AC}</a:tableStyleId>
              </a:tblPr>
              <a:tblGrid>
                <a:gridCol w="1102731">
                  <a:extLst>
                    <a:ext uri="{9D8B030D-6E8A-4147-A177-3AD203B41FA5}">
                      <a16:colId xmlns:a16="http://schemas.microsoft.com/office/drawing/2014/main" val="20000"/>
                    </a:ext>
                  </a:extLst>
                </a:gridCol>
                <a:gridCol w="1337243">
                  <a:extLst>
                    <a:ext uri="{9D8B030D-6E8A-4147-A177-3AD203B41FA5}">
                      <a16:colId xmlns:a16="http://schemas.microsoft.com/office/drawing/2014/main" val="20001"/>
                    </a:ext>
                  </a:extLst>
                </a:gridCol>
                <a:gridCol w="3656770">
                  <a:extLst>
                    <a:ext uri="{9D8B030D-6E8A-4147-A177-3AD203B41FA5}">
                      <a16:colId xmlns:a16="http://schemas.microsoft.com/office/drawing/2014/main" val="1745807836"/>
                    </a:ext>
                  </a:extLst>
                </a:gridCol>
                <a:gridCol w="1086580">
                  <a:extLst>
                    <a:ext uri="{9D8B030D-6E8A-4147-A177-3AD203B41FA5}">
                      <a16:colId xmlns:a16="http://schemas.microsoft.com/office/drawing/2014/main" val="20002"/>
                    </a:ext>
                  </a:extLst>
                </a:gridCol>
                <a:gridCol w="626873">
                  <a:extLst>
                    <a:ext uri="{9D8B030D-6E8A-4147-A177-3AD203B41FA5}">
                      <a16:colId xmlns:a16="http://schemas.microsoft.com/office/drawing/2014/main" val="20004"/>
                    </a:ext>
                  </a:extLst>
                </a:gridCol>
                <a:gridCol w="3549804">
                  <a:extLst>
                    <a:ext uri="{9D8B030D-6E8A-4147-A177-3AD203B41FA5}">
                      <a16:colId xmlns:a16="http://schemas.microsoft.com/office/drawing/2014/main" val="20005"/>
                    </a:ext>
                  </a:extLst>
                </a:gridCol>
              </a:tblGrid>
              <a:tr h="401289">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BLOCKER</a:t>
                      </a:r>
                      <a:endParaRPr/>
                    </a:p>
                  </a:txBody>
                  <a:tcPr marL="24375" marR="91450"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OWNED BY</a:t>
                      </a:r>
                      <a:endParaRPr/>
                    </a:p>
                  </a:txBody>
                  <a:tcPr marL="24375"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ACTION NEEDED</a:t>
                      </a:r>
                      <a:endParaRPr sz="1100" b="1" i="0" u="none" strike="noStrike" cap="none">
                        <a:solidFill>
                          <a:schemeClr val="accent1"/>
                        </a:solidFill>
                        <a:latin typeface="Source Sans Pro Semibold"/>
                        <a:ea typeface="Source Sans Pro Semibold"/>
                        <a:sym typeface="Arial"/>
                      </a:endParaRPr>
                    </a:p>
                  </a:txBody>
                  <a:tcPr marL="24375"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rgbClr val="000000"/>
                        </a:buClr>
                        <a:buSzPts val="800"/>
                        <a:buFont typeface="Arial"/>
                        <a:buNone/>
                      </a:pPr>
                      <a:r>
                        <a:rPr lang="en-US" sz="1100" b="1" i="0" u="none" strike="noStrike" cap="none">
                          <a:solidFill>
                            <a:schemeClr val="accent1"/>
                          </a:solidFill>
                          <a:latin typeface="Source Sans Pro Semibold"/>
                          <a:ea typeface="Source Sans Pro Semibold"/>
                          <a:cs typeface="Source Sans Pro Semibold"/>
                          <a:sym typeface="Source Sans Pro SemiBold"/>
                        </a:rPr>
                        <a:t>DATE</a:t>
                      </a:r>
                    </a:p>
                    <a:p>
                      <a:pPr marL="0" marR="0" lvl="0" indent="0" algn="l" rtl="0">
                        <a:lnSpc>
                          <a:spcPct val="100000"/>
                        </a:lnSpc>
                        <a:spcBef>
                          <a:spcPts val="0"/>
                        </a:spcBef>
                        <a:spcAft>
                          <a:spcPts val="0"/>
                        </a:spcAft>
                        <a:buSzPts val="900"/>
                        <a:buFont typeface="Arial"/>
                        <a:buNone/>
                      </a:pPr>
                      <a:r>
                        <a:rPr lang="en-US" sz="1100" b="1" i="0" u="none" strike="noStrike" cap="none">
                          <a:solidFill>
                            <a:schemeClr val="accent1"/>
                          </a:solidFill>
                          <a:latin typeface="Source Sans Pro Semibold"/>
                          <a:ea typeface="Source Sans Pro Semibold"/>
                        </a:rPr>
                        <a:t>ENTERED</a:t>
                      </a:r>
                      <a:endParaRPr lang="en-US" sz="1100"/>
                    </a:p>
                  </a:txBody>
                  <a:tcPr marL="24375" marR="24375" marT="24375" marB="243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rgbClr val="000000"/>
                        </a:buClr>
                        <a:buSzPts val="800"/>
                        <a:buFont typeface="Arial"/>
                        <a:buNone/>
                      </a:pPr>
                      <a:r>
                        <a:rPr lang="en-US" sz="1100" b="1" i="0" u="none" strike="noStrike" cap="none">
                          <a:solidFill>
                            <a:schemeClr val="accent1"/>
                          </a:solidFill>
                          <a:latin typeface="Source Sans Pro Semibold"/>
                          <a:ea typeface="Source Sans Pro Semibold"/>
                          <a:cs typeface="Source Sans Pro Semibold"/>
                          <a:sym typeface="Source Sans Pro SemiBold"/>
                        </a:rPr>
                        <a:t>STATUS</a:t>
                      </a:r>
                      <a:endParaRPr sz="1100"/>
                    </a:p>
                  </a:txBody>
                  <a:tcPr marL="24375"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rgbClr val="000000"/>
                        </a:buClr>
                        <a:buSzPts val="800"/>
                        <a:buFont typeface="Arial"/>
                        <a:buNone/>
                      </a:pPr>
                      <a:r>
                        <a:rPr lang="en-US" sz="1100" b="1" i="0" u="none" strike="noStrike" cap="none">
                          <a:solidFill>
                            <a:schemeClr val="accent1"/>
                          </a:solidFill>
                          <a:latin typeface="Source Sans Pro Semibold"/>
                          <a:ea typeface="Source Sans Pro Semibold"/>
                          <a:cs typeface="Source Sans Pro Semibold"/>
                          <a:sym typeface="Source Sans Pro SemiBold"/>
                        </a:rPr>
                        <a:t>NOTES</a:t>
                      </a:r>
                      <a:endParaRPr sz="1100"/>
                    </a:p>
                  </a:txBody>
                  <a:tcPr marL="91450"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941658">
                <a:tc>
                  <a:txBody>
                    <a:bodyPr/>
                    <a:lstStyle/>
                    <a:p>
                      <a:pPr marL="0" lvl="0" indent="0" algn="l">
                        <a:lnSpc>
                          <a:spcPct val="100000"/>
                        </a:lnSpc>
                        <a:spcBef>
                          <a:spcPts val="0"/>
                        </a:spcBef>
                        <a:spcAft>
                          <a:spcPts val="0"/>
                        </a:spcAft>
                        <a:buNone/>
                      </a:pPr>
                      <a:r>
                        <a:rPr lang="en-US" sz="1200" b="0" u="none" strike="noStrike" cap="none">
                          <a:solidFill>
                            <a:schemeClr val="dk2"/>
                          </a:solidFill>
                          <a:latin typeface="Source Sans Pro Semibold"/>
                          <a:ea typeface="Source Sans Pro"/>
                          <a:cs typeface="Source Sans Pro"/>
                        </a:rPr>
                        <a:t>Legal review</a:t>
                      </a:r>
                      <a:endParaRPr sz="1200" b="0" u="none" strike="noStrike" cap="none">
                        <a:solidFill>
                          <a:schemeClr val="dk2"/>
                        </a:solidFill>
                        <a:latin typeface="Source Sans Pro Semibold"/>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Tarsha Tremble (Business Owner)</a:t>
                      </a:r>
                      <a:endParaRPr sz="1200" u="none" strike="noStrike" cap="none">
                        <a:solidFill>
                          <a:schemeClr val="dk2"/>
                        </a:solidFill>
                        <a:latin typeface="Source Sans Pro"/>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600"/>
                        </a:spcAft>
                        <a:buClr>
                          <a:srgbClr val="000000"/>
                        </a:buClr>
                        <a:buSzTx/>
                        <a:buFont typeface="Wingdings" panose="020B0604020202020204" pitchFamily="34" charset="0"/>
                        <a:buChar char="§"/>
                        <a:tabLst/>
                        <a:defRPr/>
                      </a:pPr>
                      <a:r>
                        <a:rPr lang="en-US" sz="1200" u="none" strike="noStrike" cap="none">
                          <a:solidFill>
                            <a:schemeClr val="dk2"/>
                          </a:solidFill>
                          <a:latin typeface="Source Sans Pro"/>
                          <a:ea typeface="Source Sans Pro"/>
                          <a:cs typeface="Source Sans Pro"/>
                        </a:rPr>
                        <a:t>Business Owner is seeking a POC with the Office of General Counsel to understand requirements for legal review and timeline</a:t>
                      </a:r>
                      <a:endParaRPr lang="en-US" sz="1200" u="none" strike="noStrike" cap="none">
                        <a:solidFill>
                          <a:schemeClr val="dk2"/>
                        </a:solidFill>
                        <a:latin typeface="Source Sans Pro"/>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Sprint 3 - </a:t>
                      </a:r>
                    </a:p>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3/2/22</a:t>
                      </a:r>
                      <a:endParaRPr sz="1200" u="none" strike="noStrike" cap="none">
                        <a:solidFill>
                          <a:schemeClr val="dk2"/>
                        </a:solidFill>
                        <a:latin typeface="Source Sans Pro"/>
                        <a:ea typeface="Source Sans Pro"/>
                        <a:cs typeface="Source Sans Pro"/>
                        <a:sym typeface="Source Sans Pro"/>
                      </a:endParaRPr>
                    </a:p>
                  </a:txBody>
                  <a:tcPr marL="24375"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endParaRPr sz="1200" u="none" strike="noStrike" cap="none">
                        <a:solidFill>
                          <a:schemeClr val="dk2"/>
                        </a:solidFill>
                        <a:latin typeface="Source Sans Pro"/>
                        <a:ea typeface="Source Sans Pro"/>
                        <a:cs typeface="Source Sans Pro"/>
                        <a:sym typeface="Source Sans Pro"/>
                      </a:endParaRPr>
                    </a:p>
                  </a:txBody>
                  <a:tcPr marL="24375"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u="none" strike="noStrike" cap="none">
                          <a:solidFill>
                            <a:schemeClr val="dk2"/>
                          </a:solidFill>
                          <a:latin typeface="Source Sans Pro"/>
                          <a:ea typeface="Source Sans Pro"/>
                          <a:cs typeface="Source Sans Pro"/>
                        </a:rPr>
                        <a:t>Team had previously confirmed with Business Owner that legal review was not needed. Business Owner clarified that legal review would be needed as of March 2nd</a:t>
                      </a:r>
                      <a:endParaRPr lang="en-US" sz="1200" u="none" strike="noStrike" cap="none">
                        <a:solidFill>
                          <a:schemeClr val="dk2"/>
                        </a:solidFill>
                        <a:latin typeface="Source Sans Pro"/>
                        <a:ea typeface="Source Sans Pro"/>
                        <a:cs typeface="Source Sans Pro"/>
                        <a:sym typeface="Source Sans Pro"/>
                      </a:endParaRPr>
                    </a:p>
                  </a:txBody>
                  <a:tcPr marL="91450"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3591679"/>
                  </a:ext>
                </a:extLst>
              </a:tr>
              <a:tr h="1852099">
                <a:tc>
                  <a:txBody>
                    <a:bodyPr/>
                    <a:lstStyle/>
                    <a:p>
                      <a:pPr marL="0" lvl="0" indent="0" algn="l">
                        <a:lnSpc>
                          <a:spcPct val="100000"/>
                        </a:lnSpc>
                        <a:spcBef>
                          <a:spcPts val="0"/>
                        </a:spcBef>
                        <a:spcAft>
                          <a:spcPts val="0"/>
                        </a:spcAft>
                        <a:buNone/>
                      </a:pPr>
                      <a:r>
                        <a:rPr lang="en-US" sz="1200" b="0" u="none" strike="noStrike" cap="none">
                          <a:solidFill>
                            <a:schemeClr val="dk2"/>
                          </a:solidFill>
                          <a:latin typeface="Source Sans Pro Semibold"/>
                          <a:ea typeface="Source Sans Pro"/>
                          <a:cs typeface="Source Sans Pro"/>
                          <a:sym typeface="Source Sans Pro"/>
                        </a:rPr>
                        <a:t>Frontend</a:t>
                      </a:r>
                      <a:r>
                        <a:rPr lang="en-US" sz="1200" b="0" u="none" strike="noStrike" cap="none">
                          <a:solidFill>
                            <a:schemeClr val="dk2"/>
                          </a:solidFill>
                          <a:latin typeface="Source Sans Pro Semibold"/>
                          <a:ea typeface="Source Sans Pro"/>
                          <a:cs typeface="Source Sans Pro"/>
                        </a:rPr>
                        <a:t> </a:t>
                      </a:r>
                    </a:p>
                    <a:p>
                      <a:pPr marL="0" lvl="0" indent="0" algn="l">
                        <a:lnSpc>
                          <a:spcPct val="100000"/>
                        </a:lnSpc>
                        <a:spcBef>
                          <a:spcPts val="0"/>
                        </a:spcBef>
                        <a:spcAft>
                          <a:spcPts val="0"/>
                        </a:spcAft>
                        <a:buNone/>
                      </a:pPr>
                      <a:r>
                        <a:rPr lang="en-US" sz="1200" b="0" u="none" strike="noStrike" cap="none">
                          <a:solidFill>
                            <a:schemeClr val="dk2"/>
                          </a:solidFill>
                          <a:latin typeface="Source Sans Pro Semibold"/>
                          <a:ea typeface="Source Sans Pro"/>
                          <a:cs typeface="Source Sans Pro"/>
                        </a:rPr>
                        <a:t>re-design</a:t>
                      </a:r>
                      <a:r>
                        <a:rPr lang="en-US" sz="1200" b="0" u="none" strike="noStrike" cap="none">
                          <a:solidFill>
                            <a:schemeClr val="dk2"/>
                          </a:solidFill>
                          <a:latin typeface="Source Sans Pro Semibold"/>
                          <a:ea typeface="Source Sans Pro"/>
                          <a:cs typeface="Source Sans Pro"/>
                          <a:sym typeface="Source Sans Pro"/>
                        </a:rPr>
                        <a:t> by </a:t>
                      </a:r>
                      <a:r>
                        <a:rPr lang="en-US" sz="1200" b="0" u="none" strike="noStrike" cap="none">
                          <a:solidFill>
                            <a:schemeClr val="dk2"/>
                          </a:solidFill>
                          <a:latin typeface="Source Sans Pro Semibold"/>
                          <a:ea typeface="Source Sans Pro"/>
                          <a:cs typeface="Source Sans Pro"/>
                        </a:rPr>
                        <a:t>sitewide</a:t>
                      </a:r>
                      <a:r>
                        <a:rPr lang="en-US" sz="1200" b="0" u="none" strike="noStrike" cap="none">
                          <a:solidFill>
                            <a:schemeClr val="dk2"/>
                          </a:solidFill>
                          <a:latin typeface="Source Sans Pro Semibold"/>
                          <a:ea typeface="Source Sans Pro"/>
                          <a:cs typeface="Source Sans Pro"/>
                          <a:sym typeface="Source Sans Pro"/>
                        </a:rPr>
                        <a:t> content team</a:t>
                      </a:r>
                      <a:endParaRPr sz="1200" b="0" u="none" strike="noStrike" cap="none">
                        <a:solidFill>
                          <a:schemeClr val="dk2"/>
                        </a:solidFill>
                        <a:latin typeface="Source Sans Pro Semibold"/>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sym typeface="Source Sans Pro"/>
                        </a:rPr>
                        <a:t>Danielle Theirry, Sitewide Content Team</a:t>
                      </a:r>
                      <a:endParaRPr sz="1200" u="none" strike="noStrike" cap="none">
                        <a:solidFill>
                          <a:schemeClr val="dk2"/>
                        </a:solidFill>
                        <a:latin typeface="Source Sans Pro"/>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600"/>
                        </a:spcAft>
                        <a:buFont typeface="Wingdings" panose="020B0604020202020204" pitchFamily="34" charset="0"/>
                        <a:buChar char="§"/>
                      </a:pPr>
                      <a:r>
                        <a:rPr lang="en-US" sz="1200" u="none" strike="noStrike" cap="none">
                          <a:solidFill>
                            <a:schemeClr val="dk2"/>
                          </a:solidFill>
                          <a:latin typeface="Source Sans Pro"/>
                          <a:ea typeface="Source Sans Pro"/>
                          <a:cs typeface="Source Sans Pro"/>
                          <a:sym typeface="Source Sans Pro"/>
                        </a:rPr>
                        <a:t>Sitewide Content has redesigned our front-end designs when building it in Drupal to comply with Drupal standards</a:t>
                      </a:r>
                    </a:p>
                    <a:p>
                      <a:pPr marL="171450" lvl="0" indent="-171450" algn="l">
                        <a:lnSpc>
                          <a:spcPct val="100000"/>
                        </a:lnSpc>
                        <a:spcBef>
                          <a:spcPts val="0"/>
                        </a:spcBef>
                        <a:spcAft>
                          <a:spcPts val="600"/>
                        </a:spcAft>
                        <a:buFont typeface="Wingdings" panose="020B0604020202020204" pitchFamily="34" charset="0"/>
                        <a:buChar char="§"/>
                      </a:pPr>
                      <a:r>
                        <a:rPr lang="en-US" sz="1200" u="none" strike="noStrike" cap="none">
                          <a:solidFill>
                            <a:schemeClr val="dk2"/>
                          </a:solidFill>
                          <a:latin typeface="Source Sans Pro"/>
                          <a:ea typeface="Source Sans Pro"/>
                          <a:cs typeface="Source Sans Pro"/>
                          <a:sym typeface="Source Sans Pro"/>
                        </a:rPr>
                        <a:t>1095-B team to handoff the download button </a:t>
                      </a:r>
                      <a:r>
                        <a:rPr lang="en-US" sz="1200" u="none" strike="noStrike" cap="none">
                          <a:solidFill>
                            <a:schemeClr val="dk2"/>
                          </a:solidFill>
                          <a:latin typeface="Source Sans Pro"/>
                          <a:ea typeface="Source Sans Pro"/>
                          <a:cs typeface="Source Sans Pro"/>
                        </a:rPr>
                        <a:t>in widget to</a:t>
                      </a:r>
                      <a:r>
                        <a:rPr lang="en-US" sz="1200" u="none" strike="noStrike" cap="none">
                          <a:solidFill>
                            <a:schemeClr val="dk2"/>
                          </a:solidFill>
                          <a:latin typeface="Source Sans Pro"/>
                          <a:ea typeface="Source Sans Pro"/>
                          <a:cs typeface="Source Sans Pro"/>
                          <a:sym typeface="Source Sans Pro"/>
                        </a:rPr>
                        <a:t> Sitewide content, then Sitewide content team will </a:t>
                      </a:r>
                      <a:r>
                        <a:rPr lang="en-US" sz="1200" u="none" strike="noStrike" cap="none">
                          <a:solidFill>
                            <a:schemeClr val="dk2"/>
                          </a:solidFill>
                          <a:latin typeface="Source Sans Pro"/>
                          <a:ea typeface="Source Sans Pro"/>
                          <a:cs typeface="Source Sans Pro"/>
                        </a:rPr>
                        <a:t>pull in the widget to the front end and own the full front end</a:t>
                      </a:r>
                    </a:p>
                    <a:p>
                      <a:pPr marL="171450" lvl="0" indent="-171450" algn="l">
                        <a:lnSpc>
                          <a:spcPct val="100000"/>
                        </a:lnSpc>
                        <a:spcBef>
                          <a:spcPts val="0"/>
                        </a:spcBef>
                        <a:spcAft>
                          <a:spcPts val="600"/>
                        </a:spcAft>
                        <a:buFont typeface="Wingdings" panose="020B0604020202020204" pitchFamily="34" charset="0"/>
                        <a:buChar char="§"/>
                      </a:pPr>
                      <a:r>
                        <a:rPr lang="en-US" sz="1200" u="none" strike="noStrike" cap="none">
                          <a:solidFill>
                            <a:schemeClr val="dk2"/>
                          </a:solidFill>
                          <a:latin typeface="Source Sans Pro"/>
                          <a:ea typeface="Source Sans Pro"/>
                          <a:cs typeface="Source Sans Pro"/>
                        </a:rPr>
                        <a:t>Sitewide Content to own and manage </a:t>
                      </a:r>
                      <a:r>
                        <a:rPr lang="en-US" sz="1200" u="none" strike="noStrike" cap="none">
                          <a:solidFill>
                            <a:schemeClr val="dk2"/>
                          </a:solidFill>
                          <a:latin typeface="Source Sans Pro"/>
                          <a:ea typeface="Source Sans Pro"/>
                          <a:cs typeface="Source Sans Pro"/>
                          <a:sym typeface="Source Sans Pro"/>
                        </a:rPr>
                        <a:t>any changes on the front end as part of their timeline</a:t>
                      </a:r>
                    </a:p>
                    <a:p>
                      <a:pPr marL="171450" lvl="0" indent="-171450" algn="l">
                        <a:lnSpc>
                          <a:spcPct val="100000"/>
                        </a:lnSpc>
                        <a:spcBef>
                          <a:spcPts val="0"/>
                        </a:spcBef>
                        <a:spcAft>
                          <a:spcPts val="600"/>
                        </a:spcAft>
                        <a:buFont typeface="Wingdings" panose="020B0604020202020204" pitchFamily="34" charset="0"/>
                        <a:buChar char="§"/>
                      </a:pPr>
                      <a:r>
                        <a:rPr lang="en-US" sz="1200" u="none" strike="noStrike" cap="none">
                          <a:solidFill>
                            <a:schemeClr val="dk2"/>
                          </a:solidFill>
                          <a:latin typeface="Source Sans Pro"/>
                          <a:ea typeface="Source Sans Pro"/>
                          <a:cs typeface="Source Sans Pro"/>
                        </a:rPr>
                        <a:t>Sitewide Content to define launch date, since they own front end</a:t>
                      </a: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sym typeface="Source Sans Pro"/>
                        </a:rPr>
                        <a:t>Sprint 4 – 3/15/22</a:t>
                      </a:r>
                      <a:endParaRPr sz="1200" u="none" strike="noStrike" cap="none">
                        <a:solidFill>
                          <a:schemeClr val="dk2"/>
                        </a:solidFill>
                        <a:latin typeface="Source Sans Pro"/>
                        <a:ea typeface="Source Sans Pro"/>
                        <a:cs typeface="Source Sans Pro"/>
                        <a:sym typeface="Source Sans Pro"/>
                      </a:endParaRPr>
                    </a:p>
                  </a:txBody>
                  <a:tcPr marL="24375"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endParaRPr sz="1200" u="none" strike="noStrike" cap="none">
                        <a:solidFill>
                          <a:schemeClr val="dk2"/>
                        </a:solidFill>
                        <a:latin typeface="Source Sans Pro"/>
                        <a:ea typeface="Source Sans Pro"/>
                        <a:cs typeface="Source Sans Pro"/>
                        <a:sym typeface="Source Sans Pro"/>
                      </a:endParaRPr>
                    </a:p>
                  </a:txBody>
                  <a:tcPr marL="24375"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600"/>
                        </a:spcAft>
                        <a:buNone/>
                      </a:pPr>
                      <a:r>
                        <a:rPr lang="en-US" sz="1200" u="none" strike="noStrike" cap="none">
                          <a:solidFill>
                            <a:schemeClr val="dk2"/>
                          </a:solidFill>
                          <a:latin typeface="Source Sans Pro"/>
                          <a:ea typeface="Source Sans Pro"/>
                          <a:cs typeface="Source Sans Pro"/>
                          <a:sym typeface="Source Sans Pro"/>
                        </a:rPr>
                        <a:t>Team passed the following Collaboration Cycle milestones, with our version of designs:</a:t>
                      </a:r>
                      <a:r>
                        <a:rPr lang="en-US" sz="1200" u="none" strike="noStrike" cap="none">
                          <a:solidFill>
                            <a:schemeClr val="dk2"/>
                          </a:solidFill>
                          <a:latin typeface="Source Sans Pro"/>
                          <a:ea typeface="Source Sans Pro"/>
                          <a:cs typeface="Source Sans Pro"/>
                        </a:rPr>
                        <a:t>  </a:t>
                      </a:r>
                    </a:p>
                    <a:p>
                      <a:pPr marL="365760" lvl="0" indent="-182880" algn="l">
                        <a:lnSpc>
                          <a:spcPct val="100000"/>
                        </a:lnSpc>
                        <a:spcBef>
                          <a:spcPts val="0"/>
                        </a:spcBef>
                        <a:spcAft>
                          <a:spcPts val="600"/>
                        </a:spcAft>
                        <a:buFont typeface="Wingdings"/>
                        <a:buChar char="§"/>
                      </a:pPr>
                      <a:r>
                        <a:rPr lang="en-US" sz="1200" u="none" strike="noStrike" cap="none">
                          <a:solidFill>
                            <a:schemeClr val="dk2"/>
                          </a:solidFill>
                          <a:latin typeface="Source Sans Pro"/>
                          <a:ea typeface="Source Sans Pro"/>
                          <a:cs typeface="Source Sans Pro"/>
                          <a:sym typeface="Source Sans Pro"/>
                        </a:rPr>
                        <a:t>Midpoint Review on</a:t>
                      </a:r>
                      <a:r>
                        <a:rPr lang="en-US" sz="1200" u="none" strike="noStrike" cap="none">
                          <a:solidFill>
                            <a:schemeClr val="dk2"/>
                          </a:solidFill>
                          <a:latin typeface="Source Sans Pro"/>
                          <a:ea typeface="Source Sans Pro"/>
                          <a:cs typeface="Source Sans Pro"/>
                        </a:rPr>
                        <a:t> 3/04/22</a:t>
                      </a:r>
                    </a:p>
                    <a:p>
                      <a:pPr marL="365760" lvl="0" indent="-182880" algn="l">
                        <a:lnSpc>
                          <a:spcPct val="100000"/>
                        </a:lnSpc>
                        <a:spcBef>
                          <a:spcPts val="0"/>
                        </a:spcBef>
                        <a:spcAft>
                          <a:spcPts val="600"/>
                        </a:spcAft>
                        <a:buFont typeface="Wingdings"/>
                        <a:buChar char="§"/>
                      </a:pPr>
                      <a:r>
                        <a:rPr lang="en-US" sz="1200" u="none" strike="noStrike" cap="none">
                          <a:solidFill>
                            <a:schemeClr val="dk2"/>
                          </a:solidFill>
                          <a:latin typeface="Source Sans Pro"/>
                          <a:ea typeface="Source Sans Pro"/>
                          <a:cs typeface="Source Sans Pro"/>
                        </a:rPr>
                        <a:t>Content</a:t>
                      </a:r>
                      <a:r>
                        <a:rPr lang="en-US" sz="1200" u="none" strike="noStrike" cap="none">
                          <a:solidFill>
                            <a:schemeClr val="dk2"/>
                          </a:solidFill>
                          <a:latin typeface="Source Sans Pro"/>
                          <a:ea typeface="Source Sans Pro"/>
                          <a:cs typeface="Source Sans Pro"/>
                          <a:sym typeface="Source Sans Pro"/>
                        </a:rPr>
                        <a:t> &amp; IA Review on 3/09/22 (finalized URL)</a:t>
                      </a:r>
                      <a:endParaRPr sz="1200" u="none" strike="noStrike" cap="none">
                        <a:solidFill>
                          <a:schemeClr val="dk2"/>
                        </a:solidFill>
                        <a:latin typeface="Source Sans Pro"/>
                        <a:ea typeface="Source Sans Pro"/>
                        <a:cs typeface="Source Sans Pro"/>
                        <a:sym typeface="Source Sans Pro"/>
                      </a:endParaRPr>
                    </a:p>
                  </a:txBody>
                  <a:tcPr marL="91450"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4001478"/>
                  </a:ext>
                </a:extLst>
              </a:tr>
              <a:tr h="0">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PDF Accessibility </a:t>
                      </a:r>
                      <a:endParaRPr sz="1200" u="none" strike="noStrike" cap="none">
                        <a:solidFill>
                          <a:schemeClr val="dk2"/>
                        </a:solidFill>
                        <a:latin typeface="Source Sans Pro"/>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Tarsha Tremble (Business Owner)</a:t>
                      </a:r>
                      <a:endParaRPr lang="en-US" sz="1200" u="none" strike="noStrike" cap="none">
                        <a:solidFill>
                          <a:schemeClr val="dk2"/>
                        </a:solidFill>
                        <a:latin typeface="Source Sans Pro"/>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Arial"/>
                        <a:buChar char="•"/>
                      </a:pPr>
                      <a:r>
                        <a:rPr lang="en-US" sz="1200" b="0" i="0" u="none" strike="noStrike" cap="none" noProof="0">
                          <a:solidFill>
                            <a:schemeClr val="dk2"/>
                          </a:solidFill>
                        </a:rPr>
                        <a:t>Team received PDF from IRS, but PDF is still not accessible once it is populated with data</a:t>
                      </a:r>
                      <a:endParaRPr sz="1200" b="0" i="0" u="none" strike="noStrike" cap="none" noProof="0">
                        <a:solidFill>
                          <a:schemeClr val="dk2"/>
                        </a:solidFill>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Sprint 3 – 3/3/22</a:t>
                      </a:r>
                      <a:endParaRPr sz="1200" u="none" strike="noStrike" cap="none">
                        <a:solidFill>
                          <a:schemeClr val="dk2"/>
                        </a:solidFill>
                        <a:latin typeface="Source Sans Pro"/>
                        <a:ea typeface="Source Sans Pro"/>
                        <a:cs typeface="Source Sans Pro"/>
                        <a:sym typeface="Source Sans Pro"/>
                      </a:endParaRPr>
                    </a:p>
                  </a:txBody>
                  <a:tcPr marL="24375"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endParaRPr sz="1200" u="none" strike="noStrike" cap="none">
                        <a:solidFill>
                          <a:schemeClr val="dk2"/>
                        </a:solidFill>
                        <a:latin typeface="Source Sans Pro"/>
                        <a:ea typeface="Source Sans Pro"/>
                        <a:cs typeface="Source Sans Pro"/>
                        <a:sym typeface="Source Sans Pro"/>
                      </a:endParaRPr>
                    </a:p>
                  </a:txBody>
                  <a:tcPr marL="24375"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91440" marR="0" lvl="0" indent="0" algn="l">
                        <a:lnSpc>
                          <a:spcPct val="100000"/>
                        </a:lnSpc>
                        <a:spcBef>
                          <a:spcPts val="1000"/>
                        </a:spcBef>
                        <a:spcAft>
                          <a:spcPts val="0"/>
                        </a:spcAft>
                        <a:buClr>
                          <a:srgbClr val="000000"/>
                        </a:buClr>
                        <a:buNone/>
                      </a:pPr>
                      <a:r>
                        <a:rPr lang="en-US" sz="1200" b="0" i="0" u="none" strike="noStrike" cap="none" noProof="0">
                          <a:solidFill>
                            <a:schemeClr val="dk2"/>
                          </a:solidFill>
                        </a:rPr>
                        <a:t>Team is escalating to 508 office for additional guidance</a:t>
                      </a:r>
                      <a:endParaRPr lang="en-US" sz="1200" b="0" i="0" u="none" strike="noStrike" cap="none" noProof="0">
                        <a:solidFill>
                          <a:schemeClr val="dk2"/>
                        </a:solidFill>
                        <a:sym typeface="Source Sans Pro"/>
                      </a:endParaRPr>
                    </a:p>
                  </a:txBody>
                  <a:tcPr marL="91450"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8798524"/>
                  </a:ext>
                </a:extLst>
              </a:tr>
            </a:tbl>
          </a:graphicData>
        </a:graphic>
      </p:graphicFrame>
      <p:sp>
        <p:nvSpPr>
          <p:cNvPr id="28" name="Oval 27">
            <a:extLst>
              <a:ext uri="{FF2B5EF4-FFF2-40B4-BE49-F238E27FC236}">
                <a16:creationId xmlns:a16="http://schemas.microsoft.com/office/drawing/2014/main" id="{6C1475B9-0D65-4E9C-A1BE-5280DA459F1D}"/>
              </a:ext>
            </a:extLst>
          </p:cNvPr>
          <p:cNvSpPr/>
          <p:nvPr/>
        </p:nvSpPr>
        <p:spPr>
          <a:xfrm>
            <a:off x="7739276" y="1627427"/>
            <a:ext cx="176721" cy="18341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Oval 28">
            <a:extLst>
              <a:ext uri="{FF2B5EF4-FFF2-40B4-BE49-F238E27FC236}">
                <a16:creationId xmlns:a16="http://schemas.microsoft.com/office/drawing/2014/main" id="{76F8C6E7-F209-41F4-BEFF-E33A2664F7DA}"/>
              </a:ext>
            </a:extLst>
          </p:cNvPr>
          <p:cNvSpPr/>
          <p:nvPr/>
        </p:nvSpPr>
        <p:spPr>
          <a:xfrm>
            <a:off x="7737751" y="2480197"/>
            <a:ext cx="176721" cy="183419"/>
          </a:xfrm>
          <a:prstGeom prst="ellipse">
            <a:avLst/>
          </a:prstGeom>
          <a:solidFill>
            <a:schemeClr val="bg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Google Shape;693;p20">
            <a:extLst>
              <a:ext uri="{FF2B5EF4-FFF2-40B4-BE49-F238E27FC236}">
                <a16:creationId xmlns:a16="http://schemas.microsoft.com/office/drawing/2014/main" id="{F173D14F-C60A-49C7-A3F4-A50D97410ED9}"/>
              </a:ext>
            </a:extLst>
          </p:cNvPr>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14</a:t>
            </a:fld>
            <a:endParaRPr>
              <a:latin typeface="Source Sans Pro"/>
              <a:ea typeface="Source Sans Pro"/>
              <a:cs typeface="Source Sans Pro"/>
              <a:sym typeface="Source Sans Pro"/>
            </a:endParaRPr>
          </a:p>
        </p:txBody>
      </p:sp>
      <p:sp>
        <p:nvSpPr>
          <p:cNvPr id="6" name="Google Shape;695;p20">
            <a:extLst>
              <a:ext uri="{FF2B5EF4-FFF2-40B4-BE49-F238E27FC236}">
                <a16:creationId xmlns:a16="http://schemas.microsoft.com/office/drawing/2014/main" id="{27A3C5F9-CE7F-4416-9B0D-9A54A7CAF05D}"/>
              </a:ext>
            </a:extLst>
          </p:cNvPr>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p>
            <a:pPr algn="r"/>
            <a:r>
              <a:rPr lang="en-US" sz="1200">
                <a:solidFill>
                  <a:srgbClr val="747C74"/>
                </a:solidFill>
                <a:latin typeface="Source Sans Pro"/>
                <a:ea typeface="Source Sans Pro"/>
              </a:rPr>
              <a:t>1095-B Blockers</a:t>
            </a:r>
          </a:p>
        </p:txBody>
      </p:sp>
      <p:sp>
        <p:nvSpPr>
          <p:cNvPr id="7" name="Google Shape;471;p9">
            <a:extLst>
              <a:ext uri="{FF2B5EF4-FFF2-40B4-BE49-F238E27FC236}">
                <a16:creationId xmlns:a16="http://schemas.microsoft.com/office/drawing/2014/main" id="{3A459B18-D705-4DD6-8A98-83D381B62CE4}"/>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4-05</a:t>
            </a:r>
            <a:r>
              <a:rPr lang="en-US" sz="1200" b="0" i="0" u="none" strike="noStrike" cap="none">
                <a:solidFill>
                  <a:srgbClr val="747C74"/>
                </a:solidFill>
                <a:latin typeface="Source Sans Pro"/>
                <a:ea typeface="Source Sans Pro"/>
                <a:cs typeface="Source Sans Pro"/>
                <a:sym typeface="Source Sans Pro"/>
              </a:rPr>
              <a:t> Sprint 5 Demo</a:t>
            </a:r>
            <a:endParaRPr sz="1200" b="0" i="0" u="none" strike="noStrike" cap="none">
              <a:solidFill>
                <a:srgbClr val="747C74"/>
              </a:solidFill>
              <a:latin typeface="Calibri"/>
              <a:ea typeface="Calibri"/>
              <a:cs typeface="Calibri"/>
              <a:sym typeface="Calibri"/>
            </a:endParaRPr>
          </a:p>
        </p:txBody>
      </p:sp>
      <p:sp>
        <p:nvSpPr>
          <p:cNvPr id="10" name="Oval 9">
            <a:extLst>
              <a:ext uri="{FF2B5EF4-FFF2-40B4-BE49-F238E27FC236}">
                <a16:creationId xmlns:a16="http://schemas.microsoft.com/office/drawing/2014/main" id="{1E2A4B75-E524-EFA9-4532-F0B3FBEAAAA7}"/>
              </a:ext>
            </a:extLst>
          </p:cNvPr>
          <p:cNvSpPr/>
          <p:nvPr/>
        </p:nvSpPr>
        <p:spPr>
          <a:xfrm>
            <a:off x="7739276" y="4974440"/>
            <a:ext cx="176721" cy="18341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1144240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944BA5-58B4-490C-B2A2-09063358B2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7"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09944BA5-58B4-490C-B2A2-09063358B2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5921D8-9182-46DA-BF73-3160B3589AF0}"/>
              </a:ext>
            </a:extLst>
          </p:cNvPr>
          <p:cNvSpPr>
            <a:spLocks noGrp="1"/>
          </p:cNvSpPr>
          <p:nvPr>
            <p:ph type="title"/>
          </p:nvPr>
        </p:nvSpPr>
        <p:spPr>
          <a:xfrm>
            <a:off x="252781" y="372559"/>
            <a:ext cx="11889369" cy="613124"/>
          </a:xfrm>
        </p:spPr>
        <p:txBody>
          <a:bodyPr vert="horz"/>
          <a:lstStyle/>
          <a:p>
            <a:r>
              <a:rPr lang="en-GB"/>
              <a:t>1095-B Remaining actions, with external dependencies</a:t>
            </a:r>
          </a:p>
        </p:txBody>
      </p:sp>
      <p:sp>
        <p:nvSpPr>
          <p:cNvPr id="3" name="Slide Number Placeholder 2">
            <a:extLst>
              <a:ext uri="{FF2B5EF4-FFF2-40B4-BE49-F238E27FC236}">
                <a16:creationId xmlns:a16="http://schemas.microsoft.com/office/drawing/2014/main" id="{C21DDB4A-434A-49A0-BBD9-20F3079D2A8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5</a:t>
            </a:fld>
            <a:endParaRPr lang="en-US"/>
          </a:p>
        </p:txBody>
      </p:sp>
      <p:graphicFrame>
        <p:nvGraphicFramePr>
          <p:cNvPr id="23" name="Google Shape;930;p28">
            <a:extLst>
              <a:ext uri="{FF2B5EF4-FFF2-40B4-BE49-F238E27FC236}">
                <a16:creationId xmlns:a16="http://schemas.microsoft.com/office/drawing/2014/main" id="{F4A84191-3BFB-48AA-A343-19DE4EA3891C}"/>
              </a:ext>
            </a:extLst>
          </p:cNvPr>
          <p:cNvGraphicFramePr/>
          <p:nvPr>
            <p:extLst>
              <p:ext uri="{D42A27DB-BD31-4B8C-83A1-F6EECF244321}">
                <p14:modId xmlns:p14="http://schemas.microsoft.com/office/powerpoint/2010/main" val="1944836787"/>
              </p:ext>
            </p:extLst>
          </p:nvPr>
        </p:nvGraphicFramePr>
        <p:xfrm>
          <a:off x="401465" y="938708"/>
          <a:ext cx="11305032" cy="5616684"/>
        </p:xfrm>
        <a:graphic>
          <a:graphicData uri="http://schemas.openxmlformats.org/drawingml/2006/table">
            <a:tbl>
              <a:tblPr>
                <a:noFill/>
                <a:tableStyleId>{1F4BC13E-62C9-4DB2-9D77-78E559E1D0AC}</a:tableStyleId>
              </a:tblPr>
              <a:tblGrid>
                <a:gridCol w="1446841">
                  <a:extLst>
                    <a:ext uri="{9D8B030D-6E8A-4147-A177-3AD203B41FA5}">
                      <a16:colId xmlns:a16="http://schemas.microsoft.com/office/drawing/2014/main" val="20000"/>
                    </a:ext>
                  </a:extLst>
                </a:gridCol>
                <a:gridCol w="726392">
                  <a:extLst>
                    <a:ext uri="{9D8B030D-6E8A-4147-A177-3AD203B41FA5}">
                      <a16:colId xmlns:a16="http://schemas.microsoft.com/office/drawing/2014/main" val="20001"/>
                    </a:ext>
                  </a:extLst>
                </a:gridCol>
                <a:gridCol w="5242063">
                  <a:extLst>
                    <a:ext uri="{9D8B030D-6E8A-4147-A177-3AD203B41FA5}">
                      <a16:colId xmlns:a16="http://schemas.microsoft.com/office/drawing/2014/main" val="1745807836"/>
                    </a:ext>
                  </a:extLst>
                </a:gridCol>
                <a:gridCol w="1395811">
                  <a:extLst>
                    <a:ext uri="{9D8B030D-6E8A-4147-A177-3AD203B41FA5}">
                      <a16:colId xmlns:a16="http://schemas.microsoft.com/office/drawing/2014/main" val="2769067313"/>
                    </a:ext>
                  </a:extLst>
                </a:gridCol>
                <a:gridCol w="2493925">
                  <a:extLst>
                    <a:ext uri="{9D8B030D-6E8A-4147-A177-3AD203B41FA5}">
                      <a16:colId xmlns:a16="http://schemas.microsoft.com/office/drawing/2014/main" val="2844485727"/>
                    </a:ext>
                  </a:extLst>
                </a:gridCol>
              </a:tblGrid>
              <a:tr h="346926">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ITEM</a:t>
                      </a:r>
                      <a:endParaRPr sz="1100"/>
                    </a:p>
                  </a:txBody>
                  <a:tcPr marL="24375" marR="91450"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80000"/>
                        </a:lnSpc>
                        <a:spcBef>
                          <a:spcPts val="0"/>
                        </a:spcBef>
                        <a:spcAft>
                          <a:spcPts val="0"/>
                        </a:spcAft>
                        <a:buClr>
                          <a:srgbClr val="000000"/>
                        </a:buClr>
                        <a:buSzPts val="800"/>
                        <a:buFont typeface="Arial"/>
                        <a:buNone/>
                      </a:pPr>
                      <a:r>
                        <a:rPr lang="en-US" sz="1100" b="1" i="0" u="none" strike="noStrike" cap="none">
                          <a:solidFill>
                            <a:schemeClr val="accent1"/>
                          </a:solidFill>
                          <a:latin typeface="Source Sans Pro Semibold"/>
                          <a:ea typeface="Source Sans Pro Semibold"/>
                        </a:rPr>
                        <a:t>WORK STREAM</a:t>
                      </a:r>
                      <a:endParaRPr sz="1100" b="1" i="0" u="none" strike="noStrike" cap="none">
                        <a:solidFill>
                          <a:schemeClr val="accent1"/>
                        </a:solidFill>
                        <a:latin typeface="Source Sans Pro Semibold"/>
                        <a:ea typeface="Source Sans Pro Semibold"/>
                      </a:endParaRPr>
                    </a:p>
                  </a:txBody>
                  <a:tcPr marL="24375"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ACTION NEEDED</a:t>
                      </a:r>
                      <a:endParaRPr sz="1100" b="1" i="0" u="none" strike="noStrike" cap="none">
                        <a:solidFill>
                          <a:schemeClr val="accent1"/>
                        </a:solidFill>
                        <a:latin typeface="Source Sans Pro Semibold"/>
                        <a:ea typeface="Source Sans Pro Semibold"/>
                        <a:sym typeface="Arial"/>
                      </a:endParaRPr>
                    </a:p>
                  </a:txBody>
                  <a:tcPr marL="24375"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TARGET </a:t>
                      </a:r>
                    </a:p>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COMPLETE DATE</a:t>
                      </a:r>
                      <a:endParaRPr sz="1100" b="1" i="0" u="none" strike="noStrike" cap="none">
                        <a:solidFill>
                          <a:schemeClr val="accent1"/>
                        </a:solidFill>
                        <a:latin typeface="Source Sans Pro Semibold"/>
                        <a:ea typeface="Source Sans Pro Semibold"/>
                        <a:sym typeface="Arial"/>
                      </a:endParaRPr>
                    </a:p>
                  </a:txBody>
                  <a:tcPr marL="24375"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PREREQUISITE</a:t>
                      </a:r>
                      <a:endParaRPr sz="1100" b="1" i="0" u="none" strike="noStrike" cap="none">
                        <a:solidFill>
                          <a:schemeClr val="accent1"/>
                        </a:solidFill>
                        <a:latin typeface="Source Sans Pro Semibold"/>
                        <a:ea typeface="Source Sans Pro Semibold"/>
                        <a:sym typeface="Arial"/>
                      </a:endParaRPr>
                    </a:p>
                  </a:txBody>
                  <a:tcPr marL="24375"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81463">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Tech refinements</a:t>
                      </a:r>
                      <a:r>
                        <a:rPr lang="en-US" sz="1050" b="0" u="none" strike="noStrike" cap="none">
                          <a:solidFill>
                            <a:schemeClr val="dk2"/>
                          </a:solidFill>
                          <a:latin typeface="Source Sans Pro Semibold"/>
                          <a:ea typeface="Source Sans Pro"/>
                          <a:cs typeface="Source Sans Pro"/>
                        </a:rPr>
                        <a:t> </a:t>
                      </a:r>
                    </a:p>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amp; testing</a:t>
                      </a:r>
                      <a:endParaRPr sz="1050" b="0" u="none" strike="noStrike" cap="none">
                        <a:solidFill>
                          <a:schemeClr val="dk2"/>
                        </a:solidFill>
                        <a:latin typeface="Source Sans Pro Semibold"/>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Tech</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Update backend and react widget as needed based on staging review and UAT feedback</a:t>
                      </a:r>
                    </a:p>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Build out and conduct testing</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Font typeface="Arial" panose="020B0604020202020204" pitchFamily="34" charset="0"/>
                        <a:buNone/>
                      </a:pPr>
                      <a:r>
                        <a:rPr lang="en-US" sz="1050" u="none" strike="noStrike" cap="none">
                          <a:solidFill>
                            <a:schemeClr val="dk2"/>
                          </a:solidFill>
                          <a:latin typeface="Source Sans Pro"/>
                          <a:ea typeface="Source Sans Pro"/>
                          <a:cs typeface="Source Sans Pro"/>
                          <a:sym typeface="Source Sans Pro"/>
                        </a:rPr>
                        <a:t>March – end of</a:t>
                      </a:r>
                      <a:r>
                        <a:rPr lang="en-US" sz="1050" u="none" strike="noStrike" cap="none">
                          <a:solidFill>
                            <a:schemeClr val="dk2"/>
                          </a:solidFill>
                          <a:latin typeface="Source Sans Pro"/>
                          <a:ea typeface="Source Sans Pro"/>
                          <a:cs typeface="Source Sans Pro"/>
                        </a:rPr>
                        <a:t> </a:t>
                      </a:r>
                    </a:p>
                    <a:p>
                      <a:pPr marL="0" lvl="0" indent="0" algn="l">
                        <a:lnSpc>
                          <a:spcPct val="100000"/>
                        </a:lnSpc>
                        <a:spcBef>
                          <a:spcPts val="0"/>
                        </a:spcBef>
                        <a:spcAft>
                          <a:spcPts val="0"/>
                        </a:spcAft>
                        <a:buFont typeface="Arial" panose="020B0604020202020204" pitchFamily="34" charset="0"/>
                        <a:buNone/>
                      </a:pPr>
                      <a:r>
                        <a:rPr lang="en-US" sz="1050" u="none" strike="noStrike" cap="none">
                          <a:solidFill>
                            <a:schemeClr val="dk2"/>
                          </a:solidFill>
                          <a:latin typeface="Source Sans Pro"/>
                          <a:ea typeface="Source Sans Pro"/>
                          <a:cs typeface="Source Sans Pro"/>
                          <a:sym typeface="Source Sans Pro"/>
                        </a:rPr>
                        <a:t>Sprint 5</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Font typeface="Arial" panose="020B0604020202020204" pitchFamily="34" charset="0"/>
                        <a:buNone/>
                      </a:pPr>
                      <a:r>
                        <a:rPr lang="en-US" sz="1050" u="none" strike="noStrike" cap="none">
                          <a:solidFill>
                            <a:schemeClr val="dk2"/>
                          </a:solidFill>
                          <a:latin typeface="Source Sans Pro"/>
                          <a:ea typeface="Source Sans Pro"/>
                          <a:cs typeface="Source Sans Pro"/>
                          <a:sym typeface="Source Sans Pro"/>
                        </a:rPr>
                        <a:t>Product complete in staging</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501705"/>
                  </a:ext>
                </a:extLst>
              </a:tr>
              <a:tr h="854926">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UAT</a:t>
                      </a:r>
                      <a:endParaRPr sz="1050" b="0" u="none" strike="noStrike" cap="none">
                        <a:solidFill>
                          <a:schemeClr val="dk2"/>
                        </a:solidFill>
                        <a:latin typeface="Source Sans Pro Semibold"/>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 &amp; Tech</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rPr>
                        <a:t>Follow Collaboration Cycle guidelines for UAT</a:t>
                      </a:r>
                      <a:endParaRPr lang="en-US" sz="1050" u="none" strike="noStrike" cap="none">
                        <a:solidFill>
                          <a:schemeClr val="dk2"/>
                        </a:solidFill>
                        <a:latin typeface="Source Sans Pro"/>
                        <a:ea typeface="Source Sans Pro"/>
                        <a:cs typeface="Source Sans Pro"/>
                        <a:sym typeface="Source Sans Pro"/>
                      </a:endParaRPr>
                    </a:p>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Identify Veterans within VA to conduct UAT, send access, and follow up to ensure testing complete</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Font typeface="Arial" panose="020B0604020202020204" pitchFamily="34" charset="0"/>
                        <a:buNone/>
                      </a:pPr>
                      <a:r>
                        <a:rPr lang="en-US" sz="1050" u="none" strike="noStrike" cap="none">
                          <a:solidFill>
                            <a:schemeClr val="dk2"/>
                          </a:solidFill>
                          <a:latin typeface="Source Sans Pro"/>
                          <a:ea typeface="Source Sans Pro"/>
                          <a:cs typeface="Source Sans Pro"/>
                          <a:sym typeface="Source Sans Pro"/>
                        </a:rPr>
                        <a:t>March – </a:t>
                      </a:r>
                      <a:r>
                        <a:rPr lang="en-US" sz="1050" u="none" strike="noStrike" cap="none">
                          <a:solidFill>
                            <a:schemeClr val="dk2"/>
                          </a:solidFill>
                          <a:latin typeface="Source Sans Pro"/>
                          <a:ea typeface="Source Sans Pro"/>
                          <a:cs typeface="Source Sans Pro"/>
                        </a:rPr>
                        <a:t>April</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Font typeface="Arial" panose="020B0604020202020204" pitchFamily="34" charset="0"/>
                        <a:buNone/>
                      </a:pPr>
                      <a:r>
                        <a:rPr lang="en-US" sz="1050" u="none" strike="noStrike" cap="none">
                          <a:solidFill>
                            <a:schemeClr val="dk2"/>
                          </a:solidFill>
                          <a:latin typeface="Source Sans Pro"/>
                          <a:ea typeface="Source Sans Pro"/>
                          <a:cs typeface="Source Sans Pro"/>
                          <a:sym typeface="Source Sans Pro"/>
                        </a:rPr>
                        <a:t>Product must be complete in staging</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4001478"/>
                  </a:ext>
                </a:extLst>
              </a:tr>
              <a:tr h="0">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1095-B Opt-in</a:t>
                      </a:r>
                      <a:endParaRPr sz="1050" b="0" u="none" strike="noStrike" cap="none">
                        <a:solidFill>
                          <a:schemeClr val="dk2"/>
                        </a:solidFill>
                        <a:latin typeface="Source Sans Pro Semibold"/>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20B0604020202020204" pitchFamily="34" charset="0"/>
                        <a:buChar char="§"/>
                        <a:tabLst/>
                        <a:defRPr/>
                      </a:pPr>
                      <a:r>
                        <a:rPr lang="en-US" sz="1050" u="none" strike="noStrike" cap="none">
                          <a:solidFill>
                            <a:schemeClr val="dk2"/>
                          </a:solidFill>
                          <a:latin typeface="Source Sans Pro"/>
                          <a:ea typeface="Source Sans Pro"/>
                          <a:cs typeface="Source Sans Pro"/>
                          <a:sym typeface="Source Sans Pro"/>
                        </a:rPr>
                        <a:t>Follow up with HEC and Profiles team to ensure opt-in is done</a:t>
                      </a: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20B0604020202020204" pitchFamily="34" charset="0"/>
                        <a:buChar char="§"/>
                        <a:tabLst/>
                        <a:defRPr/>
                      </a:pPr>
                      <a:r>
                        <a:rPr lang="en-US" sz="1050" u="none" strike="noStrike" cap="none">
                          <a:solidFill>
                            <a:schemeClr val="dk2"/>
                          </a:solidFill>
                          <a:latin typeface="Source Sans Pro"/>
                          <a:ea typeface="Source Sans Pro"/>
                          <a:cs typeface="Source Sans Pro"/>
                          <a:sym typeface="Source Sans Pro"/>
                        </a:rPr>
                        <a:t>Update draft communications and announcement plans, based on when opt-in will be launched</a:t>
                      </a:r>
                      <a:endParaRPr lang="en-US" sz="1050" u="none" strike="noStrike" cap="none">
                        <a:solidFill>
                          <a:srgbClr val="303A46"/>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April - May</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HEC and Profiles commitment to building opt-in</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97724009"/>
                  </a:ext>
                </a:extLst>
              </a:tr>
              <a:tr h="0">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rPr>
                        <a:t>Legal Review</a:t>
                      </a:r>
                      <a:endParaRPr sz="1050" b="0" u="none" strike="noStrike" cap="none">
                        <a:solidFill>
                          <a:schemeClr val="dk2"/>
                        </a:solidFill>
                        <a:latin typeface="Source Sans Pro Semibold"/>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Product</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20B0604020202020204" pitchFamily="34" charset="0"/>
                        <a:buChar char="§"/>
                        <a:tabLst/>
                        <a:defRPr/>
                      </a:pPr>
                      <a:r>
                        <a:rPr lang="en-US" sz="1050" u="none" strike="noStrike" cap="none">
                          <a:solidFill>
                            <a:schemeClr val="dk2"/>
                          </a:solidFill>
                          <a:latin typeface="Source Sans Pro"/>
                          <a:ea typeface="Source Sans Pro"/>
                          <a:cs typeface="Source Sans Pro"/>
                        </a:rPr>
                        <a:t>Work with Tarsha to complete legal review</a:t>
                      </a:r>
                      <a:endParaRPr lang="en-US"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March – April</a:t>
                      </a:r>
                      <a:r>
                        <a:rPr lang="en-US" sz="1050" u="none" strike="noStrike" cap="none">
                          <a:solidFill>
                            <a:schemeClr val="dk2"/>
                          </a:solidFill>
                          <a:latin typeface="Source Sans Pro"/>
                          <a:ea typeface="Source Sans Pro"/>
                          <a:cs typeface="Source Sans Pro"/>
                        </a:rPr>
                        <a:t> </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OC name from Tarsha</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56028142"/>
                  </a:ext>
                </a:extLst>
              </a:tr>
              <a:tr h="395975">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Post Launch</a:t>
                      </a:r>
                      <a:r>
                        <a:rPr lang="en-US" sz="1050" b="0" u="none" strike="noStrike" cap="none">
                          <a:solidFill>
                            <a:schemeClr val="dk2"/>
                          </a:solidFill>
                          <a:latin typeface="Source Sans Pro Semibold"/>
                          <a:ea typeface="Source Sans Pro"/>
                          <a:cs typeface="Source Sans Pro"/>
                        </a:rPr>
                        <a:t> </a:t>
                      </a:r>
                    </a:p>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Check- In</a:t>
                      </a:r>
                      <a:endParaRPr sz="1050" b="0" u="none" strike="noStrike" cap="none">
                        <a:solidFill>
                          <a:schemeClr val="dk2"/>
                        </a:solidFill>
                        <a:latin typeface="Source Sans Pro Semibold"/>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Complete Collaboration Cycle milestone to KPIs post launch</a:t>
                      </a:r>
                      <a:r>
                        <a:rPr lang="en-US" sz="1050" u="none" strike="noStrike" cap="none">
                          <a:solidFill>
                            <a:schemeClr val="dk2"/>
                          </a:solidFill>
                          <a:latin typeface="Source Sans Pro"/>
                          <a:ea typeface="Source Sans Pro"/>
                          <a:cs typeface="Source Sans Pro"/>
                        </a:rPr>
                        <a:t> </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TBD (One month after launch and announcement)</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 launched in prod</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8798524"/>
                  </a:ext>
                </a:extLst>
              </a:tr>
              <a:tr h="514195">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Links from VA.gov pages to 1095-B</a:t>
                      </a:r>
                      <a:endParaRPr sz="1050" b="0" u="none" strike="noStrike" cap="none">
                        <a:solidFill>
                          <a:schemeClr val="dk2"/>
                        </a:solidFill>
                        <a:latin typeface="Source Sans Pro Semibold"/>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 &amp; Design</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Work with IA team to have other identified pages within VA.gov (e.g., ACA page) link to the 1095-B page</a:t>
                      </a:r>
                    </a:p>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rPr>
                        <a:t>Work with IA team to have 1095-B page added to navigation and be found in VA.gov search</a:t>
                      </a: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April or later</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auto" latinLnBrk="0" hangingPunct="1">
                        <a:lnSpc>
                          <a:spcPct val="100000"/>
                        </a:lnSpc>
                        <a:spcBef>
                          <a:spcPts val="0"/>
                        </a:spcBef>
                        <a:spcAft>
                          <a:spcPts val="0"/>
                        </a:spcAft>
                        <a:buClr>
                          <a:srgbClr val="000000"/>
                        </a:buClr>
                        <a:buSzTx/>
                        <a:buFont typeface="Arial"/>
                        <a:buNone/>
                      </a:pPr>
                      <a:r>
                        <a:rPr lang="en-US" sz="1050" u="none" strike="noStrike" cap="none">
                          <a:solidFill>
                            <a:schemeClr val="dk2"/>
                          </a:solidFill>
                          <a:latin typeface="Source Sans Pro"/>
                          <a:ea typeface="Source Sans Pro"/>
                          <a:cs typeface="Source Sans Pro"/>
                          <a:sym typeface="Source Sans Pro"/>
                        </a:rPr>
                        <a:t>Product launched in prod; aligned on comm plan with Tarsha,</a:t>
                      </a:r>
                      <a:r>
                        <a:rPr lang="en-US" sz="1050" u="none" strike="noStrike" cap="none">
                          <a:solidFill>
                            <a:schemeClr val="dk2"/>
                          </a:solidFill>
                          <a:latin typeface="Source Sans Pro"/>
                          <a:ea typeface="Source Sans Pro"/>
                          <a:cs typeface="Source Sans Pro"/>
                        </a:rPr>
                        <a:t> </a:t>
                      </a:r>
                      <a:r>
                        <a:rPr lang="en-US" sz="1050" u="none" strike="noStrike" cap="none">
                          <a:solidFill>
                            <a:schemeClr val="dk2"/>
                          </a:solidFill>
                          <a:latin typeface="Source Sans Pro"/>
                          <a:ea typeface="Source Sans Pro"/>
                          <a:cs typeface="Source Sans Pro"/>
                          <a:sym typeface="Source Sans Pro"/>
                        </a:rPr>
                        <a:t> Tracey</a:t>
                      </a:r>
                      <a:endParaRPr lang="en-US" sz="1050">
                        <a:sym typeface="Source Sans Pro"/>
                      </a:endParaRPr>
                    </a:p>
                  </a:txBody>
                  <a:tcPr marL="24375"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69191189"/>
                  </a:ext>
                </a:extLst>
              </a:tr>
              <a:tr h="395975">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rPr>
                        <a:t>1095-B update strategy</a:t>
                      </a:r>
                      <a:endParaRPr sz="1050" b="0" u="none" strike="noStrike" cap="none">
                        <a:solidFill>
                          <a:schemeClr val="dk2"/>
                        </a:solidFill>
                        <a:latin typeface="Source Sans Pro Semibold"/>
                        <a:ea typeface="Source Sans Pro"/>
                        <a:cs typeface="Source Sans Pro"/>
                        <a:sym typeface="Source Sans Pro"/>
                      </a:endParaRPr>
                    </a:p>
                  </a:txBody>
                  <a:tcPr marL="24375" marR="182875" marT="91450" marB="91450">
                    <a:lnL w="0">
                      <a:noFill/>
                    </a:lnL>
                    <a:lnR w="0">
                      <a:noFill/>
                    </a:lnR>
                    <a:lnT w="12700">
                      <a:solidFill>
                        <a:schemeClr val="tx1">
                          <a:lumMod val="25000"/>
                          <a:lumOff val="75000"/>
                        </a:schemeClr>
                      </a:solidFill>
                    </a:lnT>
                    <a:lnB w="12700">
                      <a:solidFill>
                        <a:schemeClr val="tx1">
                          <a:lumMod val="25000"/>
                          <a:lumOff val="75000"/>
                        </a:schemeClr>
                      </a:solidFill>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Product</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a:noFill/>
                    </a:lnL>
                    <a:lnR w="0">
                      <a:noFill/>
                    </a:lnR>
                    <a:lnT w="12700">
                      <a:solidFill>
                        <a:schemeClr val="tx1">
                          <a:lumMod val="25000"/>
                          <a:lumOff val="75000"/>
                        </a:schemeClr>
                      </a:solidFill>
                    </a:lnT>
                    <a:lnB w="12700">
                      <a:solidFill>
                        <a:schemeClr val="tx1">
                          <a:lumMod val="25000"/>
                          <a:lumOff val="75000"/>
                        </a:schemeClr>
                      </a:solidFill>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a:buChar char="§"/>
                      </a:pPr>
                      <a:r>
                        <a:rPr lang="en-US" sz="1050" u="none" strike="noStrike" cap="none">
                          <a:solidFill>
                            <a:schemeClr val="dk2"/>
                          </a:solidFill>
                          <a:latin typeface="Source Sans Pro"/>
                          <a:ea typeface="Source Sans Pro"/>
                          <a:cs typeface="Source Sans Pro"/>
                        </a:rPr>
                        <a:t>Align on who will own 1095-B long term, including updating the PDF template each year</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a:noFill/>
                    </a:lnL>
                    <a:lnR w="0">
                      <a:noFill/>
                    </a:lnR>
                    <a:lnT w="12700">
                      <a:solidFill>
                        <a:schemeClr val="tx1">
                          <a:lumMod val="25000"/>
                          <a:lumOff val="75000"/>
                        </a:schemeClr>
                      </a:solidFill>
                    </a:lnT>
                    <a:lnB w="12700">
                      <a:solidFill>
                        <a:schemeClr val="tx1">
                          <a:lumMod val="25000"/>
                          <a:lumOff val="75000"/>
                        </a:schemeClr>
                      </a:solidFill>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050" b="0" i="0" u="none" strike="noStrike" cap="none" noProof="0">
                          <a:solidFill>
                            <a:schemeClr val="dk2"/>
                          </a:solidFill>
                          <a:latin typeface="Source Sans Pro"/>
                        </a:rPr>
                        <a:t>April or later</a:t>
                      </a:r>
                      <a:endParaRPr lang="en-US" sz="1050" b="0" i="0" u="none" strike="noStrike" cap="none" noProof="0">
                        <a:latin typeface="Source Sans Pro"/>
                      </a:endParaRPr>
                    </a:p>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a:noFill/>
                    </a:lnL>
                    <a:lnR w="0">
                      <a:noFill/>
                    </a:lnR>
                    <a:lnT w="12700">
                      <a:solidFill>
                        <a:schemeClr val="tx1">
                          <a:lumMod val="25000"/>
                          <a:lumOff val="75000"/>
                        </a:schemeClr>
                      </a:solidFill>
                    </a:lnT>
                    <a:lnB w="12700">
                      <a:solidFill>
                        <a:schemeClr val="tx1">
                          <a:lumMod val="25000"/>
                          <a:lumOff val="75000"/>
                        </a:schemeClr>
                      </a:solidFill>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Product complete and launched in production</a:t>
                      </a:r>
                      <a:endParaRPr lang="en-US" sz="1050" u="none" strike="noStrike" cap="none">
                        <a:solidFill>
                          <a:schemeClr val="dk2"/>
                        </a:solidFill>
                        <a:latin typeface="Source Sans Pro"/>
                        <a:ea typeface="Source Sans Pro"/>
                        <a:cs typeface="Source Sans Pro"/>
                        <a:sym typeface="Source Sans Pro"/>
                      </a:endParaRPr>
                    </a:p>
                  </a:txBody>
                  <a:tcPr marL="24375" marR="182875" marT="91450" marB="91450">
                    <a:lnL w="0">
                      <a:noFill/>
                    </a:lnL>
                    <a:lnR w="0">
                      <a:noFill/>
                    </a:lnR>
                    <a:lnT w="12700">
                      <a:solidFill>
                        <a:schemeClr val="tx1">
                          <a:lumMod val="25000"/>
                          <a:lumOff val="75000"/>
                        </a:schemeClr>
                      </a:solidFill>
                    </a:lnT>
                    <a:lnB w="12700">
                      <a:solidFill>
                        <a:schemeClr val="tx1">
                          <a:lumMod val="25000"/>
                          <a:lumOff val="75000"/>
                        </a:schemeClr>
                      </a:solidFill>
                    </a:lnB>
                    <a:lnTlToBr w="12700" cmpd="sng">
                      <a:noFill/>
                      <a:prstDash val="solid"/>
                    </a:lnTlToBr>
                    <a:lnBlToTr w="12700" cmpd="sng">
                      <a:noFill/>
                      <a:prstDash val="solid"/>
                    </a:lnBlToTr>
                  </a:tcPr>
                </a:tc>
                <a:extLst>
                  <a:ext uri="{0D108BD9-81ED-4DB2-BD59-A6C34878D82A}">
                    <a16:rowId xmlns:a16="http://schemas.microsoft.com/office/drawing/2014/main" val="2445647212"/>
                  </a:ext>
                </a:extLst>
              </a:tr>
              <a:tr h="395975">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Communications to announce launch</a:t>
                      </a:r>
                      <a:endParaRPr sz="1050" b="0" u="none" strike="noStrike" cap="none">
                        <a:solidFill>
                          <a:schemeClr val="dk2"/>
                        </a:solidFill>
                        <a:latin typeface="Source Sans Pro Semibold"/>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 &amp; Design</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Work with Tarsha and HEC team to refine drafted communications and align on plan and timeline to announce 1095-B launch to Veterans</a:t>
                      </a:r>
                    </a:p>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Work with VA Notify team to build and launch communications on their platform</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October - December</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50" u="none" strike="noStrike" cap="none">
                          <a:solidFill>
                            <a:schemeClr val="dk2"/>
                          </a:solidFill>
                          <a:latin typeface="Source Sans Pro"/>
                          <a:ea typeface="Source Sans Pro"/>
                          <a:cs typeface="Source Sans Pro"/>
                          <a:sym typeface="Source Sans Pro"/>
                        </a:rPr>
                        <a:t>Product launched in prod; aligned on communication plan with Tarsha/Tracey</a:t>
                      </a:r>
                    </a:p>
                  </a:txBody>
                  <a:tcPr marL="24375"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06694833"/>
                  </a:ext>
                </a:extLst>
              </a:tr>
            </a:tbl>
          </a:graphicData>
        </a:graphic>
      </p:graphicFrame>
      <p:sp>
        <p:nvSpPr>
          <p:cNvPr id="6" name="Google Shape;695;p20">
            <a:extLst>
              <a:ext uri="{FF2B5EF4-FFF2-40B4-BE49-F238E27FC236}">
                <a16:creationId xmlns:a16="http://schemas.microsoft.com/office/drawing/2014/main" id="{7A9BD76F-FB1E-49C3-878D-3DEF96872E9C}"/>
              </a:ext>
            </a:extLst>
          </p:cNvPr>
          <p:cNvSpPr txBox="1"/>
          <p:nvPr/>
        </p:nvSpPr>
        <p:spPr>
          <a:xfrm>
            <a:off x="9641352" y="6408650"/>
            <a:ext cx="1999473" cy="276959"/>
          </a:xfrm>
          <a:prstGeom prst="rect">
            <a:avLst/>
          </a:prstGeom>
          <a:noFill/>
          <a:ln>
            <a:noFill/>
          </a:ln>
        </p:spPr>
        <p:txBody>
          <a:bodyPr spcFirstLastPara="1" wrap="square" lIns="91425" tIns="45700" rIns="91425" bIns="45700" anchor="t" anchorCtr="0">
            <a:spAutoFit/>
          </a:bodyPr>
          <a:lstStyle/>
          <a:p>
            <a:pPr algn="r"/>
            <a:r>
              <a:rPr lang="en-US" sz="1200">
                <a:solidFill>
                  <a:srgbClr val="747C74"/>
                </a:solidFill>
                <a:latin typeface="Source Sans Pro"/>
                <a:ea typeface="Source Sans Pro"/>
                <a:sym typeface="Source Sans Pro"/>
              </a:rPr>
              <a:t>1095-B Remaining actions</a:t>
            </a:r>
            <a:endParaRPr lang="en-US"/>
          </a:p>
        </p:txBody>
      </p:sp>
      <p:sp>
        <p:nvSpPr>
          <p:cNvPr id="7" name="Google Shape;471;p9">
            <a:extLst>
              <a:ext uri="{FF2B5EF4-FFF2-40B4-BE49-F238E27FC236}">
                <a16:creationId xmlns:a16="http://schemas.microsoft.com/office/drawing/2014/main" id="{EA31C852-83D3-4FF2-B517-4CB67739490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4-05</a:t>
            </a:r>
            <a:r>
              <a:rPr lang="en-US" sz="1200" b="0" i="0" u="none" strike="noStrike" cap="none">
                <a:solidFill>
                  <a:srgbClr val="747C74"/>
                </a:solidFill>
                <a:latin typeface="Source Sans Pro"/>
                <a:ea typeface="Source Sans Pro"/>
                <a:cs typeface="Source Sans Pro"/>
                <a:sym typeface="Source Sans Pro"/>
              </a:rPr>
              <a:t> Sprint 5 Demo</a:t>
            </a:r>
            <a:endParaRPr sz="12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7545876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59"/>
        <p:cNvGrpSpPr/>
        <p:nvPr/>
      </p:nvGrpSpPr>
      <p:grpSpPr>
        <a:xfrm>
          <a:off x="0" y="0"/>
          <a:ext cx="0" cy="0"/>
          <a:chOff x="0" y="0"/>
          <a:chExt cx="0" cy="0"/>
        </a:xfrm>
      </p:grpSpPr>
      <p:sp>
        <p:nvSpPr>
          <p:cNvPr id="460" name="Google Shape;460;p8"/>
          <p:cNvSpPr txBox="1">
            <a:spLocks noGrp="1"/>
          </p:cNvSpPr>
          <p:nvPr>
            <p:ph type="ctrTitle"/>
          </p:nvPr>
        </p:nvSpPr>
        <p:spPr>
          <a:xfrm>
            <a:off x="248880" y="2938176"/>
            <a:ext cx="7261656" cy="1632577"/>
          </a:xfrm>
          <a:prstGeom prst="rect">
            <a:avLst/>
          </a:prstGeom>
          <a:noFill/>
          <a:ln>
            <a:noFill/>
          </a:ln>
        </p:spPr>
        <p:txBody>
          <a:bodyPr spcFirstLastPara="1" wrap="square" lIns="91425" tIns="45700" rIns="91425" bIns="45700" anchor="t" anchorCtr="0">
            <a:noAutofit/>
          </a:bodyPr>
          <a:lstStyle/>
          <a:p>
            <a:r>
              <a:rPr lang="en-US"/>
              <a:t>Community Care</a:t>
            </a:r>
          </a:p>
        </p:txBody>
      </p:sp>
      <p:sp>
        <p:nvSpPr>
          <p:cNvPr id="461" name="Google Shape;461;p8"/>
          <p:cNvSpPr txBox="1">
            <a:spLocks noGrp="1"/>
          </p:cNvSpPr>
          <p:nvPr>
            <p:ph type="body" idx="1"/>
          </p:nvPr>
        </p:nvSpPr>
        <p:spPr>
          <a:xfrm>
            <a:off x="341868" y="2523777"/>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a:t>SPRINT 5 DEMO</a:t>
            </a:r>
            <a:endParaRPr/>
          </a:p>
        </p:txBody>
      </p:sp>
      <p:sp>
        <p:nvSpPr>
          <p:cNvPr id="462" name="Google Shape;462;p8"/>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16</a:t>
            </a:fld>
            <a:endParaRPr/>
          </a:p>
        </p:txBody>
      </p:sp>
      <p:sp>
        <p:nvSpPr>
          <p:cNvPr id="2" name="Google Shape;265;p4">
            <a:extLst>
              <a:ext uri="{FF2B5EF4-FFF2-40B4-BE49-F238E27FC236}">
                <a16:creationId xmlns:a16="http://schemas.microsoft.com/office/drawing/2014/main" id="{820A4734-2A64-812C-44F5-9C35D9905FB2}"/>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05 Sprint 5 Demo</a:t>
            </a:r>
            <a:endParaRPr sz="1800" b="0" i="0" u="none" strike="noStrike" cap="none">
              <a:solidFill>
                <a:srgbClr val="747C74"/>
              </a:solidFill>
              <a:latin typeface="Calibri"/>
              <a:ea typeface="Calibri"/>
              <a:cs typeface="Calibri"/>
              <a:sym typeface="Calibri"/>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30"/>
        <p:cNvGrpSpPr/>
        <p:nvPr/>
      </p:nvGrpSpPr>
      <p:grpSpPr>
        <a:xfrm>
          <a:off x="0" y="0"/>
          <a:ext cx="0" cy="0"/>
          <a:chOff x="0" y="0"/>
          <a:chExt cx="0" cy="0"/>
        </a:xfrm>
      </p:grpSpPr>
      <p:sp>
        <p:nvSpPr>
          <p:cNvPr id="331" name="Google Shape;331;p6"/>
          <p:cNvSpPr txBox="1">
            <a:spLocks noGrp="1"/>
          </p:cNvSpPr>
          <p:nvPr>
            <p:ph type="body" idx="1"/>
          </p:nvPr>
        </p:nvSpPr>
        <p:spPr>
          <a:xfrm>
            <a:off x="314857" y="1936765"/>
            <a:ext cx="4483941" cy="4105054"/>
          </a:xfrm>
          <a:prstGeom prst="rect">
            <a:avLst/>
          </a:prstGeom>
          <a:noFill/>
          <a:ln>
            <a:noFill/>
          </a:ln>
        </p:spPr>
        <p:txBody>
          <a:bodyPr spcFirstLastPara="1" wrap="square" lIns="91425" tIns="45700" rIns="91425" bIns="45700" anchor="t" anchorCtr="0">
            <a:noAutofit/>
          </a:bodyPr>
          <a:lstStyle/>
          <a:p>
            <a:pPr marL="342900" indent="-342900">
              <a:spcBef>
                <a:spcPts val="0"/>
              </a:spcBef>
            </a:pPr>
            <a:r>
              <a:rPr lang="en-US" sz="1600"/>
              <a:t>Draft a current state Journey Map to enable identification of impactful, near-term opportunities for integrating Community Care into VA.gov</a:t>
            </a:r>
          </a:p>
          <a:p>
            <a:pPr marL="342900" indent="-342900">
              <a:spcBef>
                <a:spcPts val="0"/>
              </a:spcBef>
            </a:pPr>
            <a:endParaRPr lang="en-US" sz="1600"/>
          </a:p>
          <a:p>
            <a:pPr marL="342900" indent="-342900">
              <a:spcBef>
                <a:spcPts val="0"/>
              </a:spcBef>
            </a:pPr>
            <a:r>
              <a:rPr lang="en-US" sz="1600"/>
              <a:t>Focus areas:</a:t>
            </a:r>
          </a:p>
          <a:p>
            <a:pPr marL="800100" lvl="1">
              <a:spcBef>
                <a:spcPts val="0"/>
              </a:spcBef>
            </a:pPr>
            <a:r>
              <a:rPr lang="en-US" sz="1600"/>
              <a:t>Secure messaging</a:t>
            </a:r>
          </a:p>
          <a:p>
            <a:pPr marL="800100" lvl="1">
              <a:spcBef>
                <a:spcPts val="0"/>
              </a:spcBef>
            </a:pPr>
            <a:r>
              <a:rPr lang="en-US" sz="1600"/>
              <a:t>Medical records</a:t>
            </a:r>
          </a:p>
          <a:p>
            <a:pPr marL="800100" lvl="1">
              <a:spcBef>
                <a:spcPts val="0"/>
              </a:spcBef>
            </a:pPr>
            <a:r>
              <a:rPr lang="en-US" sz="1600"/>
              <a:t>Prescriptions</a:t>
            </a:r>
          </a:p>
          <a:p>
            <a:pPr marL="800100" lvl="1">
              <a:spcBef>
                <a:spcPts val="0"/>
              </a:spcBef>
            </a:pPr>
            <a:r>
              <a:rPr lang="en-US" sz="1600"/>
              <a:t>Debt/Billing</a:t>
            </a:r>
          </a:p>
          <a:p>
            <a:pPr marL="342900" indent="-342900">
              <a:spcBef>
                <a:spcPts val="0"/>
              </a:spcBef>
            </a:pPr>
            <a:endParaRPr lang="en-US" sz="1600"/>
          </a:p>
          <a:p>
            <a:pPr marL="342900" indent="-342900">
              <a:spcBef>
                <a:spcPts val="0"/>
              </a:spcBef>
            </a:pPr>
            <a:r>
              <a:rPr lang="en-US" sz="1600"/>
              <a:t>Conduct product and tech discovery to assess complexity, scope, &amp; feasibility</a:t>
            </a:r>
          </a:p>
          <a:p>
            <a:pPr marL="342900" indent="-342900">
              <a:spcBef>
                <a:spcPts val="0"/>
              </a:spcBef>
            </a:pPr>
            <a:endParaRPr lang="en-US" sz="1600"/>
          </a:p>
          <a:p>
            <a:pPr marL="342900" indent="-342900">
              <a:spcBef>
                <a:spcPts val="0"/>
              </a:spcBef>
            </a:pPr>
            <a:endParaRPr lang="en-US" sz="1600"/>
          </a:p>
        </p:txBody>
      </p:sp>
      <p:sp>
        <p:nvSpPr>
          <p:cNvPr id="333" name="Google Shape;333;p6"/>
          <p:cNvSpPr txBox="1">
            <a:spLocks noGrp="1"/>
          </p:cNvSpPr>
          <p:nvPr>
            <p:ph type="title"/>
          </p:nvPr>
        </p:nvSpPr>
        <p:spPr>
          <a:xfrm>
            <a:off x="314857" y="1160390"/>
            <a:ext cx="6440214" cy="733846"/>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Project objectives</a:t>
            </a:r>
            <a:endParaRPr/>
          </a:p>
        </p:txBody>
      </p:sp>
      <p:sp>
        <p:nvSpPr>
          <p:cNvPr id="334" name="Google Shape;334;p6"/>
          <p:cNvSpPr txBox="1">
            <a:spLocks noGrp="1"/>
          </p:cNvSpPr>
          <p:nvPr>
            <p:ph type="body" idx="3"/>
          </p:nvPr>
        </p:nvSpPr>
        <p:spPr>
          <a:xfrm>
            <a:off x="314857" y="685285"/>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1400"/>
              <a:buNone/>
            </a:pPr>
            <a:r>
              <a:rPr lang="en-US"/>
              <a:t>OVERVIEW</a:t>
            </a:r>
            <a:endParaRPr/>
          </a:p>
        </p:txBody>
      </p:sp>
      <p:sp>
        <p:nvSpPr>
          <p:cNvPr id="337" name="Google Shape;337;p6"/>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05 Sprint 5 Demo</a:t>
            </a:r>
            <a:endParaRPr sz="1200" b="0" i="0" u="none" strike="noStrike" cap="none">
              <a:solidFill>
                <a:srgbClr val="747C74"/>
              </a:solidFill>
              <a:latin typeface="Calibri"/>
              <a:ea typeface="Calibri"/>
              <a:cs typeface="Calibri"/>
              <a:sym typeface="Calibri"/>
            </a:endParaRPr>
          </a:p>
        </p:txBody>
      </p:sp>
      <p:sp>
        <p:nvSpPr>
          <p:cNvPr id="3" name="Google Shape;263;p4">
            <a:extLst>
              <a:ext uri="{FF2B5EF4-FFF2-40B4-BE49-F238E27FC236}">
                <a16:creationId xmlns:a16="http://schemas.microsoft.com/office/drawing/2014/main" id="{66006C5B-9348-4EDF-A4CD-C4D1A1D98F6F}"/>
              </a:ext>
            </a:extLst>
          </p:cNvPr>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17</a:t>
            </a:fld>
            <a:endParaRPr>
              <a:latin typeface="Source Sans Pro"/>
              <a:ea typeface="Source Sans Pro"/>
              <a:cs typeface="Source Sans Pro"/>
              <a:sym typeface="Source Sans Pro"/>
            </a:endParaRPr>
          </a:p>
        </p:txBody>
      </p:sp>
      <p:sp>
        <p:nvSpPr>
          <p:cNvPr id="4" name="Google Shape;264;p4">
            <a:extLst>
              <a:ext uri="{FF2B5EF4-FFF2-40B4-BE49-F238E27FC236}">
                <a16:creationId xmlns:a16="http://schemas.microsoft.com/office/drawing/2014/main" id="{8A222FD3-0C71-47F8-8E70-78DCD7F2B113}"/>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sym typeface="Source Sans Pro"/>
              </a:rPr>
              <a:t>Overview</a:t>
            </a:r>
            <a:endParaRPr lang="en-US"/>
          </a:p>
        </p:txBody>
      </p:sp>
      <p:pic>
        <p:nvPicPr>
          <p:cNvPr id="5" name="Picture 5" descr="Icon&#10;&#10;Description automatically generated">
            <a:extLst>
              <a:ext uri="{FF2B5EF4-FFF2-40B4-BE49-F238E27FC236}">
                <a16:creationId xmlns:a16="http://schemas.microsoft.com/office/drawing/2014/main" id="{9166FA4B-85C9-5893-22DC-EC6CE43E7204}"/>
              </a:ext>
            </a:extLst>
          </p:cNvPr>
          <p:cNvPicPr>
            <a:picLocks noChangeAspect="1"/>
          </p:cNvPicPr>
          <p:nvPr/>
        </p:nvPicPr>
        <p:blipFill>
          <a:blip r:embed="rId3"/>
          <a:stretch>
            <a:fillRect/>
          </a:stretch>
        </p:blipFill>
        <p:spPr>
          <a:xfrm>
            <a:off x="6590384" y="1088804"/>
            <a:ext cx="4189895" cy="4189895"/>
          </a:xfrm>
          <a:prstGeom prst="rect">
            <a:avLst/>
          </a:prstGeom>
        </p:spPr>
      </p:pic>
    </p:spTree>
    <p:extLst>
      <p:ext uri="{BB962C8B-B14F-4D97-AF65-F5344CB8AC3E}">
        <p14:creationId xmlns:p14="http://schemas.microsoft.com/office/powerpoint/2010/main" val="35145611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52A157-2CB8-6DCB-8D3B-00713BF25DCA}"/>
              </a:ext>
            </a:extLst>
          </p:cNvPr>
          <p:cNvSpPr>
            <a:spLocks noGrp="1"/>
          </p:cNvSpPr>
          <p:nvPr>
            <p:ph type="title"/>
          </p:nvPr>
        </p:nvSpPr>
        <p:spPr>
          <a:xfrm>
            <a:off x="310466" y="604779"/>
            <a:ext cx="11367529" cy="1090226"/>
          </a:xfrm>
        </p:spPr>
        <p:txBody>
          <a:bodyPr>
            <a:normAutofit/>
          </a:bodyPr>
          <a:lstStyle/>
          <a:p>
            <a:r>
              <a:rPr lang="en-US" sz="2800"/>
              <a:t>We laid out the potential deliverables into a workplan to show where we could help, given current timelines</a:t>
            </a:r>
          </a:p>
        </p:txBody>
      </p:sp>
      <p:sp>
        <p:nvSpPr>
          <p:cNvPr id="26" name="Google Shape;369;p7">
            <a:extLst>
              <a:ext uri="{FF2B5EF4-FFF2-40B4-BE49-F238E27FC236}">
                <a16:creationId xmlns:a16="http://schemas.microsoft.com/office/drawing/2014/main" id="{955AC05E-33FB-3C44-F3BC-31A82617FF2F}"/>
              </a:ext>
            </a:extLst>
          </p:cNvPr>
          <p:cNvSpPr txBox="1"/>
          <p:nvPr/>
        </p:nvSpPr>
        <p:spPr>
          <a:xfrm>
            <a:off x="1472001" y="2132554"/>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0: 03/23 – 03/30</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28" name="Google Shape;370;p7">
            <a:extLst>
              <a:ext uri="{FF2B5EF4-FFF2-40B4-BE49-F238E27FC236}">
                <a16:creationId xmlns:a16="http://schemas.microsoft.com/office/drawing/2014/main" id="{6BCD0965-B080-4C07-162C-B1793916C7AE}"/>
              </a:ext>
            </a:extLst>
          </p:cNvPr>
          <p:cNvSpPr txBox="1"/>
          <p:nvPr/>
        </p:nvSpPr>
        <p:spPr>
          <a:xfrm>
            <a:off x="1437463" y="1880632"/>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5</a:t>
            </a:r>
            <a:endParaRPr/>
          </a:p>
        </p:txBody>
      </p:sp>
      <p:sp>
        <p:nvSpPr>
          <p:cNvPr id="34" name="Google Shape;376;p7">
            <a:extLst>
              <a:ext uri="{FF2B5EF4-FFF2-40B4-BE49-F238E27FC236}">
                <a16:creationId xmlns:a16="http://schemas.microsoft.com/office/drawing/2014/main" id="{4DF9B8DF-A76D-75E1-F47E-E16EA41AAFC1}"/>
              </a:ext>
            </a:extLst>
          </p:cNvPr>
          <p:cNvSpPr/>
          <p:nvPr/>
        </p:nvSpPr>
        <p:spPr>
          <a:xfrm>
            <a:off x="352223" y="2563092"/>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Product &amp; Delivery</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36" name="Google Shape;377;p7">
            <a:extLst>
              <a:ext uri="{FF2B5EF4-FFF2-40B4-BE49-F238E27FC236}">
                <a16:creationId xmlns:a16="http://schemas.microsoft.com/office/drawing/2014/main" id="{B54A5F69-1C30-7571-6B17-59787A961DAF}"/>
              </a:ext>
            </a:extLst>
          </p:cNvPr>
          <p:cNvSpPr/>
          <p:nvPr/>
        </p:nvSpPr>
        <p:spPr>
          <a:xfrm>
            <a:off x="340765" y="5407997"/>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Engineering &amp; Development</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46" name="Google Shape;384;p7">
            <a:extLst>
              <a:ext uri="{FF2B5EF4-FFF2-40B4-BE49-F238E27FC236}">
                <a16:creationId xmlns:a16="http://schemas.microsoft.com/office/drawing/2014/main" id="{1E1C1585-D404-40C5-7DD6-1A36C13365DD}"/>
              </a:ext>
            </a:extLst>
          </p:cNvPr>
          <p:cNvSpPr/>
          <p:nvPr/>
        </p:nvSpPr>
        <p:spPr>
          <a:xfrm>
            <a:off x="352223" y="4182640"/>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User Experience &amp; Design</a:t>
            </a:r>
            <a:endParaRPr sz="900" b="1" i="0" u="none" strike="noStrike" cap="none">
              <a:solidFill>
                <a:schemeClr val="dk2"/>
              </a:solidFill>
              <a:latin typeface="Source Sans Pro Semibold"/>
              <a:ea typeface="Source Sans Pro Semibold"/>
              <a:cs typeface="Source Sans Pro Semibold"/>
              <a:sym typeface="Source Sans Pro SemiBold"/>
            </a:endParaRPr>
          </a:p>
        </p:txBody>
      </p:sp>
      <p:pic>
        <p:nvPicPr>
          <p:cNvPr id="48" name="Google Shape;385;p7">
            <a:extLst>
              <a:ext uri="{FF2B5EF4-FFF2-40B4-BE49-F238E27FC236}">
                <a16:creationId xmlns:a16="http://schemas.microsoft.com/office/drawing/2014/main" id="{247921FD-8C4D-E554-1B1D-CACD41AF4EB2}"/>
              </a:ext>
            </a:extLst>
          </p:cNvPr>
          <p:cNvPicPr preferRelativeResize="0"/>
          <p:nvPr/>
        </p:nvPicPr>
        <p:blipFill rotWithShape="1">
          <a:blip r:embed="rId2">
            <a:alphaModFix/>
          </a:blip>
          <a:srcRect/>
          <a:stretch/>
        </p:blipFill>
        <p:spPr>
          <a:xfrm>
            <a:off x="432433" y="4657100"/>
            <a:ext cx="265176" cy="265176"/>
          </a:xfrm>
          <a:prstGeom prst="rect">
            <a:avLst/>
          </a:prstGeom>
          <a:noFill/>
          <a:ln>
            <a:noFill/>
          </a:ln>
        </p:spPr>
      </p:pic>
      <p:pic>
        <p:nvPicPr>
          <p:cNvPr id="50" name="Google Shape;386;p7">
            <a:extLst>
              <a:ext uri="{FF2B5EF4-FFF2-40B4-BE49-F238E27FC236}">
                <a16:creationId xmlns:a16="http://schemas.microsoft.com/office/drawing/2014/main" id="{085AC538-8759-5885-5CFF-B2873A0A6DEE}"/>
              </a:ext>
            </a:extLst>
          </p:cNvPr>
          <p:cNvPicPr preferRelativeResize="0"/>
          <p:nvPr/>
        </p:nvPicPr>
        <p:blipFill rotWithShape="1">
          <a:blip r:embed="rId3">
            <a:alphaModFix/>
          </a:blip>
          <a:srcRect/>
          <a:stretch/>
        </p:blipFill>
        <p:spPr>
          <a:xfrm>
            <a:off x="432433" y="2914972"/>
            <a:ext cx="265176" cy="265176"/>
          </a:xfrm>
          <a:prstGeom prst="rect">
            <a:avLst/>
          </a:prstGeom>
          <a:noFill/>
          <a:ln>
            <a:noFill/>
          </a:ln>
        </p:spPr>
      </p:pic>
      <p:cxnSp>
        <p:nvCxnSpPr>
          <p:cNvPr id="52" name="Google Shape;389;p7">
            <a:extLst>
              <a:ext uri="{FF2B5EF4-FFF2-40B4-BE49-F238E27FC236}">
                <a16:creationId xmlns:a16="http://schemas.microsoft.com/office/drawing/2014/main" id="{4B6288B0-2F92-BABF-949C-D41DF2E2967F}"/>
              </a:ext>
            </a:extLst>
          </p:cNvPr>
          <p:cNvCxnSpPr/>
          <p:nvPr/>
        </p:nvCxnSpPr>
        <p:spPr>
          <a:xfrm>
            <a:off x="11429412" y="2043269"/>
            <a:ext cx="0" cy="4133289"/>
          </a:xfrm>
          <a:prstGeom prst="straightConnector1">
            <a:avLst/>
          </a:prstGeom>
          <a:noFill/>
          <a:ln w="9525" cap="flat" cmpd="sng">
            <a:solidFill>
              <a:srgbClr val="7F7F7F"/>
            </a:solidFill>
            <a:prstDash val="solid"/>
            <a:round/>
            <a:headEnd type="none" w="sm" len="sm"/>
            <a:tailEnd type="none" w="sm" len="sm"/>
          </a:ln>
        </p:spPr>
      </p:cxnSp>
      <p:cxnSp>
        <p:nvCxnSpPr>
          <p:cNvPr id="54" name="Google Shape;390;p7">
            <a:extLst>
              <a:ext uri="{FF2B5EF4-FFF2-40B4-BE49-F238E27FC236}">
                <a16:creationId xmlns:a16="http://schemas.microsoft.com/office/drawing/2014/main" id="{44C4834B-3B18-7CC0-FDEA-E47378DAF764}"/>
              </a:ext>
            </a:extLst>
          </p:cNvPr>
          <p:cNvCxnSpPr/>
          <p:nvPr/>
        </p:nvCxnSpPr>
        <p:spPr>
          <a:xfrm>
            <a:off x="260364" y="2034510"/>
            <a:ext cx="0" cy="4345725"/>
          </a:xfrm>
          <a:prstGeom prst="straightConnector1">
            <a:avLst/>
          </a:prstGeom>
          <a:noFill/>
          <a:ln w="9525" cap="flat" cmpd="sng">
            <a:solidFill>
              <a:srgbClr val="C7C7C7"/>
            </a:solidFill>
            <a:prstDash val="dot"/>
            <a:round/>
            <a:headEnd type="none" w="sm" len="sm"/>
            <a:tailEnd type="none" w="sm" len="sm"/>
          </a:ln>
        </p:spPr>
      </p:cxnSp>
      <p:cxnSp>
        <p:nvCxnSpPr>
          <p:cNvPr id="56" name="Google Shape;391;p7">
            <a:extLst>
              <a:ext uri="{FF2B5EF4-FFF2-40B4-BE49-F238E27FC236}">
                <a16:creationId xmlns:a16="http://schemas.microsoft.com/office/drawing/2014/main" id="{62555E59-04A5-FFF1-EE9E-8961465F1E1D}"/>
              </a:ext>
            </a:extLst>
          </p:cNvPr>
          <p:cNvCxnSpPr/>
          <p:nvPr/>
        </p:nvCxnSpPr>
        <p:spPr>
          <a:xfrm>
            <a:off x="1323782" y="2043269"/>
            <a:ext cx="0" cy="4128671"/>
          </a:xfrm>
          <a:prstGeom prst="straightConnector1">
            <a:avLst/>
          </a:prstGeom>
          <a:noFill/>
          <a:ln w="9525" cap="flat" cmpd="sng">
            <a:solidFill>
              <a:srgbClr val="7F7F7F"/>
            </a:solidFill>
            <a:prstDash val="solid"/>
            <a:round/>
            <a:headEnd type="none" w="sm" len="sm"/>
            <a:tailEnd type="none" w="sm" len="sm"/>
          </a:ln>
        </p:spPr>
      </p:cxnSp>
      <p:cxnSp>
        <p:nvCxnSpPr>
          <p:cNvPr id="58" name="Google Shape;392;p7">
            <a:extLst>
              <a:ext uri="{FF2B5EF4-FFF2-40B4-BE49-F238E27FC236}">
                <a16:creationId xmlns:a16="http://schemas.microsoft.com/office/drawing/2014/main" id="{535ECF66-8691-DE21-C4CE-662C1B8607F9}"/>
              </a:ext>
            </a:extLst>
          </p:cNvPr>
          <p:cNvCxnSpPr/>
          <p:nvPr/>
        </p:nvCxnSpPr>
        <p:spPr>
          <a:xfrm>
            <a:off x="3709751" y="2113338"/>
            <a:ext cx="0" cy="4345725"/>
          </a:xfrm>
          <a:prstGeom prst="straightConnector1">
            <a:avLst/>
          </a:prstGeom>
          <a:noFill/>
          <a:ln w="9525" cap="flat" cmpd="sng">
            <a:solidFill>
              <a:srgbClr val="C7C7C7"/>
            </a:solidFill>
            <a:prstDash val="dot"/>
            <a:round/>
            <a:headEnd type="none" w="sm" len="sm"/>
            <a:tailEnd type="none" w="sm" len="sm"/>
          </a:ln>
        </p:spPr>
      </p:cxnSp>
      <p:cxnSp>
        <p:nvCxnSpPr>
          <p:cNvPr id="60" name="Google Shape;393;p7">
            <a:extLst>
              <a:ext uri="{FF2B5EF4-FFF2-40B4-BE49-F238E27FC236}">
                <a16:creationId xmlns:a16="http://schemas.microsoft.com/office/drawing/2014/main" id="{02BE5020-33F7-66E4-4A1C-71874FD6410E}"/>
              </a:ext>
            </a:extLst>
          </p:cNvPr>
          <p:cNvCxnSpPr/>
          <p:nvPr/>
        </p:nvCxnSpPr>
        <p:spPr>
          <a:xfrm>
            <a:off x="6354700" y="2069544"/>
            <a:ext cx="0" cy="4345725"/>
          </a:xfrm>
          <a:prstGeom prst="straightConnector1">
            <a:avLst/>
          </a:prstGeom>
          <a:noFill/>
          <a:ln w="9525" cap="flat" cmpd="sng">
            <a:solidFill>
              <a:srgbClr val="7F7F7F"/>
            </a:solidFill>
            <a:prstDash val="solid"/>
            <a:round/>
            <a:headEnd type="none" w="sm" len="sm"/>
            <a:tailEnd type="none" w="sm" len="sm"/>
          </a:ln>
        </p:spPr>
      </p:cxnSp>
      <p:cxnSp>
        <p:nvCxnSpPr>
          <p:cNvPr id="62" name="Google Shape;394;p7">
            <a:extLst>
              <a:ext uri="{FF2B5EF4-FFF2-40B4-BE49-F238E27FC236}">
                <a16:creationId xmlns:a16="http://schemas.microsoft.com/office/drawing/2014/main" id="{63E5A2FA-D102-2F1F-0789-DF98497CD653}"/>
              </a:ext>
            </a:extLst>
          </p:cNvPr>
          <p:cNvCxnSpPr/>
          <p:nvPr/>
        </p:nvCxnSpPr>
        <p:spPr>
          <a:xfrm>
            <a:off x="8893343" y="2069544"/>
            <a:ext cx="0" cy="4345725"/>
          </a:xfrm>
          <a:prstGeom prst="straightConnector1">
            <a:avLst/>
          </a:prstGeom>
          <a:noFill/>
          <a:ln w="9525" cap="flat" cmpd="sng">
            <a:solidFill>
              <a:srgbClr val="C7C7C7"/>
            </a:solidFill>
            <a:prstDash val="dot"/>
            <a:round/>
            <a:headEnd type="none" w="sm" len="sm"/>
            <a:tailEnd type="none" w="sm" len="sm"/>
          </a:ln>
        </p:spPr>
      </p:cxnSp>
      <p:cxnSp>
        <p:nvCxnSpPr>
          <p:cNvPr id="70" name="Google Shape;398;p7">
            <a:extLst>
              <a:ext uri="{FF2B5EF4-FFF2-40B4-BE49-F238E27FC236}">
                <a16:creationId xmlns:a16="http://schemas.microsoft.com/office/drawing/2014/main" id="{36AB945C-B067-EFEB-F8C0-06799B81FEEF}"/>
              </a:ext>
            </a:extLst>
          </p:cNvPr>
          <p:cNvCxnSpPr>
            <a:cxnSpLocks/>
          </p:cNvCxnSpPr>
          <p:nvPr/>
        </p:nvCxnSpPr>
        <p:spPr>
          <a:xfrm>
            <a:off x="331440" y="5241066"/>
            <a:ext cx="11080575" cy="0"/>
          </a:xfrm>
          <a:prstGeom prst="straightConnector1">
            <a:avLst/>
          </a:prstGeom>
          <a:noFill/>
          <a:ln w="9525" cap="flat" cmpd="sng">
            <a:solidFill>
              <a:srgbClr val="747C74"/>
            </a:solidFill>
            <a:prstDash val="solid"/>
            <a:round/>
            <a:headEnd type="none" w="sm" len="sm"/>
            <a:tailEnd type="none" w="sm" len="sm"/>
          </a:ln>
        </p:spPr>
      </p:cxnSp>
      <p:sp>
        <p:nvSpPr>
          <p:cNvPr id="72" name="Google Shape;399;p7">
            <a:extLst>
              <a:ext uri="{FF2B5EF4-FFF2-40B4-BE49-F238E27FC236}">
                <a16:creationId xmlns:a16="http://schemas.microsoft.com/office/drawing/2014/main" id="{2076A5C8-D785-DF79-4D6A-C1A4C3D4A83F}"/>
              </a:ext>
            </a:extLst>
          </p:cNvPr>
          <p:cNvSpPr/>
          <p:nvPr/>
        </p:nvSpPr>
        <p:spPr>
          <a:xfrm>
            <a:off x="1327717" y="2518964"/>
            <a:ext cx="10074464" cy="221234"/>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SzPts val="900"/>
            </a:pPr>
            <a:r>
              <a:rPr lang="en-US" sz="850">
                <a:solidFill>
                  <a:srgbClr val="FDFFFD"/>
                </a:solidFill>
                <a:latin typeface="Source Sans Pro"/>
                <a:ea typeface="Source Sans Pro"/>
                <a:cs typeface="Source Sans Pro"/>
              </a:rPr>
              <a:t>Build Backlog</a:t>
            </a:r>
            <a:endParaRPr lang="en-US" sz="850" b="0" i="0" u="none" strike="noStrike" cap="none">
              <a:solidFill>
                <a:srgbClr val="FDFFFD"/>
              </a:solidFill>
              <a:latin typeface="Source Sans Pro"/>
              <a:ea typeface="Source Sans Pro"/>
              <a:cs typeface="Source Sans Pro"/>
            </a:endParaRPr>
          </a:p>
        </p:txBody>
      </p:sp>
      <p:sp>
        <p:nvSpPr>
          <p:cNvPr id="78" name="Google Shape;404;p7">
            <a:extLst>
              <a:ext uri="{FF2B5EF4-FFF2-40B4-BE49-F238E27FC236}">
                <a16:creationId xmlns:a16="http://schemas.microsoft.com/office/drawing/2014/main" id="{85AA2B18-4964-80D8-597C-B2C0E4AC1A9F}"/>
              </a:ext>
            </a:extLst>
          </p:cNvPr>
          <p:cNvSpPr/>
          <p:nvPr/>
        </p:nvSpPr>
        <p:spPr>
          <a:xfrm>
            <a:off x="5671246" y="5339258"/>
            <a:ext cx="1538976" cy="263188"/>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a:buSzPts val="900"/>
            </a:pPr>
            <a:r>
              <a:rPr lang="en-US" sz="850">
                <a:solidFill>
                  <a:schemeClr val="accent1"/>
                </a:solidFill>
                <a:latin typeface="Source Sans Pro"/>
                <a:ea typeface="Source Sans Pro"/>
                <a:cs typeface="Source Sans Pro"/>
              </a:rPr>
              <a:t>VAOS Data Bindings</a:t>
            </a:r>
            <a:endParaRPr lang="en-US" sz="850" b="0" i="0" u="none" strike="noStrike" cap="none">
              <a:solidFill>
                <a:schemeClr val="accent1"/>
              </a:solidFill>
              <a:latin typeface="Source Sans Pro"/>
              <a:ea typeface="Source Sans Pro"/>
              <a:cs typeface="Source Sans Pro"/>
            </a:endParaRPr>
          </a:p>
        </p:txBody>
      </p:sp>
      <p:sp>
        <p:nvSpPr>
          <p:cNvPr id="82" name="Google Shape;410;p7">
            <a:extLst>
              <a:ext uri="{FF2B5EF4-FFF2-40B4-BE49-F238E27FC236}">
                <a16:creationId xmlns:a16="http://schemas.microsoft.com/office/drawing/2014/main" id="{80579DE7-72B2-533E-1105-2A45C4F95512}"/>
              </a:ext>
            </a:extLst>
          </p:cNvPr>
          <p:cNvSpPr/>
          <p:nvPr/>
        </p:nvSpPr>
        <p:spPr>
          <a:xfrm>
            <a:off x="1331427" y="4168248"/>
            <a:ext cx="4718023" cy="259495"/>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a:buSzPts val="900"/>
            </a:pPr>
            <a:r>
              <a:rPr lang="en-US" sz="850">
                <a:solidFill>
                  <a:srgbClr val="FDFFFD"/>
                </a:solidFill>
                <a:latin typeface="Source Sans Pro"/>
                <a:ea typeface="Source Sans Pro"/>
                <a:cs typeface="Source Sans Pro"/>
              </a:rPr>
              <a:t>Immersion </a:t>
            </a:r>
            <a:endParaRPr lang="en-US" sz="850" b="0" i="0" u="none" strike="noStrike" cap="none">
              <a:solidFill>
                <a:srgbClr val="FDFFFD"/>
              </a:solidFill>
              <a:latin typeface="Source Sans Pro"/>
              <a:ea typeface="Source Sans Pro"/>
              <a:cs typeface="Source Sans Pro"/>
            </a:endParaRPr>
          </a:p>
        </p:txBody>
      </p:sp>
      <p:cxnSp>
        <p:nvCxnSpPr>
          <p:cNvPr id="92" name="Google Shape;420;p7">
            <a:extLst>
              <a:ext uri="{FF2B5EF4-FFF2-40B4-BE49-F238E27FC236}">
                <a16:creationId xmlns:a16="http://schemas.microsoft.com/office/drawing/2014/main" id="{95332B53-DA5E-B171-E911-5630D8D71783}"/>
              </a:ext>
            </a:extLst>
          </p:cNvPr>
          <p:cNvCxnSpPr/>
          <p:nvPr/>
        </p:nvCxnSpPr>
        <p:spPr>
          <a:xfrm>
            <a:off x="1348720" y="2047516"/>
            <a:ext cx="4940125" cy="0"/>
          </a:xfrm>
          <a:prstGeom prst="straightConnector1">
            <a:avLst/>
          </a:prstGeom>
          <a:noFill/>
          <a:ln w="12700" cap="flat" cmpd="sng">
            <a:solidFill>
              <a:schemeClr val="dk1"/>
            </a:solidFill>
            <a:prstDash val="solid"/>
            <a:round/>
            <a:headEnd type="none" w="sm" len="sm"/>
            <a:tailEnd type="none" w="sm" len="sm"/>
          </a:ln>
        </p:spPr>
      </p:cxnSp>
      <p:cxnSp>
        <p:nvCxnSpPr>
          <p:cNvPr id="94" name="Google Shape;421;p7">
            <a:extLst>
              <a:ext uri="{FF2B5EF4-FFF2-40B4-BE49-F238E27FC236}">
                <a16:creationId xmlns:a16="http://schemas.microsoft.com/office/drawing/2014/main" id="{60E77512-710D-3C80-18A9-A2DDB839C5F2}"/>
              </a:ext>
            </a:extLst>
          </p:cNvPr>
          <p:cNvCxnSpPr/>
          <p:nvPr/>
        </p:nvCxnSpPr>
        <p:spPr>
          <a:xfrm flipV="1">
            <a:off x="6379488" y="2047516"/>
            <a:ext cx="5067125" cy="4379"/>
          </a:xfrm>
          <a:prstGeom prst="straightConnector1">
            <a:avLst/>
          </a:prstGeom>
          <a:noFill/>
          <a:ln w="12700" cap="flat" cmpd="sng">
            <a:solidFill>
              <a:schemeClr val="dk1"/>
            </a:solidFill>
            <a:prstDash val="solid"/>
            <a:round/>
            <a:headEnd type="none" w="sm" len="sm"/>
            <a:tailEnd type="none" w="sm" len="sm"/>
          </a:ln>
        </p:spPr>
      </p:cxnSp>
      <p:pic>
        <p:nvPicPr>
          <p:cNvPr id="100" name="Google Shape;424;p7">
            <a:extLst>
              <a:ext uri="{FF2B5EF4-FFF2-40B4-BE49-F238E27FC236}">
                <a16:creationId xmlns:a16="http://schemas.microsoft.com/office/drawing/2014/main" id="{7C55F817-7127-B9AD-8941-666334782182}"/>
              </a:ext>
            </a:extLst>
          </p:cNvPr>
          <p:cNvPicPr preferRelativeResize="0"/>
          <p:nvPr/>
        </p:nvPicPr>
        <p:blipFill rotWithShape="1">
          <a:blip r:embed="rId4">
            <a:alphaModFix/>
          </a:blip>
          <a:srcRect/>
          <a:stretch/>
        </p:blipFill>
        <p:spPr>
          <a:xfrm>
            <a:off x="432433" y="5750644"/>
            <a:ext cx="265176" cy="265176"/>
          </a:xfrm>
          <a:prstGeom prst="rect">
            <a:avLst/>
          </a:prstGeom>
          <a:noFill/>
          <a:ln>
            <a:noFill/>
          </a:ln>
        </p:spPr>
      </p:pic>
      <p:sp>
        <p:nvSpPr>
          <p:cNvPr id="144" name="Google Shape;362;p7">
            <a:extLst>
              <a:ext uri="{FF2B5EF4-FFF2-40B4-BE49-F238E27FC236}">
                <a16:creationId xmlns:a16="http://schemas.microsoft.com/office/drawing/2014/main" id="{B58147B5-8D15-0CDB-3D97-316282865257}"/>
              </a:ext>
            </a:extLst>
          </p:cNvPr>
          <p:cNvSpPr txBox="1"/>
          <p:nvPr/>
        </p:nvSpPr>
        <p:spPr>
          <a:xfrm>
            <a:off x="3856021" y="2130620"/>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1: 3/30 – 04/06</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152" name="Google Shape;369;p7">
            <a:extLst>
              <a:ext uri="{FF2B5EF4-FFF2-40B4-BE49-F238E27FC236}">
                <a16:creationId xmlns:a16="http://schemas.microsoft.com/office/drawing/2014/main" id="{D045B593-F7C4-E5A1-A0EE-5FD358E7AB98}"/>
              </a:ext>
            </a:extLst>
          </p:cNvPr>
          <p:cNvSpPr txBox="1"/>
          <p:nvPr/>
        </p:nvSpPr>
        <p:spPr>
          <a:xfrm>
            <a:off x="6482062" y="2140024"/>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2: 04/06-04/13</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154" name="Google Shape;370;p7">
            <a:extLst>
              <a:ext uri="{FF2B5EF4-FFF2-40B4-BE49-F238E27FC236}">
                <a16:creationId xmlns:a16="http://schemas.microsoft.com/office/drawing/2014/main" id="{78A581DC-04CB-AB07-CF99-5807E41BC636}"/>
              </a:ext>
            </a:extLst>
          </p:cNvPr>
          <p:cNvSpPr txBox="1"/>
          <p:nvPr/>
        </p:nvSpPr>
        <p:spPr>
          <a:xfrm>
            <a:off x="6447524" y="1888102"/>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6</a:t>
            </a:r>
            <a:endParaRPr/>
          </a:p>
        </p:txBody>
      </p:sp>
      <p:sp>
        <p:nvSpPr>
          <p:cNvPr id="160" name="Google Shape;362;p7">
            <a:extLst>
              <a:ext uri="{FF2B5EF4-FFF2-40B4-BE49-F238E27FC236}">
                <a16:creationId xmlns:a16="http://schemas.microsoft.com/office/drawing/2014/main" id="{1B0BBF1C-E120-F159-D550-2E7E2D34401F}"/>
              </a:ext>
            </a:extLst>
          </p:cNvPr>
          <p:cNvSpPr txBox="1"/>
          <p:nvPr/>
        </p:nvSpPr>
        <p:spPr>
          <a:xfrm>
            <a:off x="8965348" y="2129356"/>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3: 04/13-04/20</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63" name="Google Shape;398;p7">
            <a:extLst>
              <a:ext uri="{FF2B5EF4-FFF2-40B4-BE49-F238E27FC236}">
                <a16:creationId xmlns:a16="http://schemas.microsoft.com/office/drawing/2014/main" id="{239D5AB9-9EAB-07FA-6DAA-29766725F05B}"/>
              </a:ext>
            </a:extLst>
          </p:cNvPr>
          <p:cNvCxnSpPr>
            <a:cxnSpLocks/>
          </p:cNvCxnSpPr>
          <p:nvPr/>
        </p:nvCxnSpPr>
        <p:spPr>
          <a:xfrm>
            <a:off x="331440" y="3747597"/>
            <a:ext cx="11080575" cy="0"/>
          </a:xfrm>
          <a:prstGeom prst="straightConnector1">
            <a:avLst/>
          </a:prstGeom>
          <a:noFill/>
          <a:ln w="9525" cap="flat" cmpd="sng">
            <a:solidFill>
              <a:srgbClr val="747C74"/>
            </a:solidFill>
            <a:prstDash val="solid"/>
            <a:round/>
            <a:headEnd type="none" w="sm" len="sm"/>
            <a:tailEnd type="none" w="sm" len="sm"/>
          </a:ln>
        </p:spPr>
      </p:cxnSp>
      <p:sp>
        <p:nvSpPr>
          <p:cNvPr id="41" name="Google Shape;399;p7">
            <a:extLst>
              <a:ext uri="{FF2B5EF4-FFF2-40B4-BE49-F238E27FC236}">
                <a16:creationId xmlns:a16="http://schemas.microsoft.com/office/drawing/2014/main" id="{3B6580CA-499D-CC3F-919D-5AA5927A4604}"/>
              </a:ext>
            </a:extLst>
          </p:cNvPr>
          <p:cNvSpPr/>
          <p:nvPr/>
        </p:nvSpPr>
        <p:spPr>
          <a:xfrm>
            <a:off x="6359163" y="3283631"/>
            <a:ext cx="5057679" cy="258553"/>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SzPts val="900"/>
            </a:pPr>
            <a:r>
              <a:rPr lang="en-US" sz="850">
                <a:solidFill>
                  <a:srgbClr val="FDFFFD"/>
                </a:solidFill>
                <a:latin typeface="Source Sans Pro"/>
                <a:ea typeface="Source Sans Pro"/>
                <a:cs typeface="Source Sans Pro"/>
              </a:rPr>
              <a:t>Track value &amp; viability to business &amp; partners</a:t>
            </a:r>
            <a:endParaRPr lang="en-US" sz="850" b="0" i="0" u="none" strike="noStrike" cap="none">
              <a:solidFill>
                <a:srgbClr val="FDFFFD"/>
              </a:solidFill>
              <a:latin typeface="Source Sans Pro"/>
              <a:ea typeface="Source Sans Pro"/>
              <a:cs typeface="Source Sans Pro"/>
            </a:endParaRPr>
          </a:p>
        </p:txBody>
      </p:sp>
      <p:sp>
        <p:nvSpPr>
          <p:cNvPr id="45" name="Google Shape;399;p7">
            <a:extLst>
              <a:ext uri="{FF2B5EF4-FFF2-40B4-BE49-F238E27FC236}">
                <a16:creationId xmlns:a16="http://schemas.microsoft.com/office/drawing/2014/main" id="{BB66F23D-66B3-02EE-5766-5C1F76D9CAFF}"/>
              </a:ext>
            </a:extLst>
          </p:cNvPr>
          <p:cNvSpPr/>
          <p:nvPr/>
        </p:nvSpPr>
        <p:spPr>
          <a:xfrm>
            <a:off x="2306206" y="2879400"/>
            <a:ext cx="4040347" cy="254174"/>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r>
              <a:rPr lang="en-US" sz="850">
                <a:solidFill>
                  <a:srgbClr val="FDFFFD"/>
                </a:solidFill>
                <a:latin typeface="Source Sans Pro"/>
                <a:ea typeface="Source Sans Pro"/>
              </a:rPr>
              <a:t>Discovery</a:t>
            </a:r>
            <a:endParaRPr lang="en-US"/>
          </a:p>
        </p:txBody>
      </p:sp>
      <p:sp>
        <p:nvSpPr>
          <p:cNvPr id="47" name="Google Shape;410;p7">
            <a:extLst>
              <a:ext uri="{FF2B5EF4-FFF2-40B4-BE49-F238E27FC236}">
                <a16:creationId xmlns:a16="http://schemas.microsoft.com/office/drawing/2014/main" id="{635EA343-E326-C59A-DD60-9A2325E5F077}"/>
              </a:ext>
            </a:extLst>
          </p:cNvPr>
          <p:cNvSpPr/>
          <p:nvPr/>
        </p:nvSpPr>
        <p:spPr>
          <a:xfrm>
            <a:off x="3266130" y="4514405"/>
            <a:ext cx="3064357" cy="263112"/>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rgbClr val="FDFFFD"/>
                </a:solidFill>
                <a:latin typeface="Source Sans Pro"/>
                <a:ea typeface="Source Sans Pro"/>
              </a:rPr>
              <a:t>Draft Current State Journey Map</a:t>
            </a:r>
            <a:endParaRPr lang="en-US"/>
          </a:p>
        </p:txBody>
      </p:sp>
      <p:sp>
        <p:nvSpPr>
          <p:cNvPr id="7" name="TextBox 6">
            <a:extLst>
              <a:ext uri="{FF2B5EF4-FFF2-40B4-BE49-F238E27FC236}">
                <a16:creationId xmlns:a16="http://schemas.microsoft.com/office/drawing/2014/main" id="{13934D1C-6E4A-EDA6-05C5-4249C9B8C8B5}"/>
              </a:ext>
            </a:extLst>
          </p:cNvPr>
          <p:cNvSpPr txBox="1"/>
          <p:nvPr/>
        </p:nvSpPr>
        <p:spPr>
          <a:xfrm>
            <a:off x="6362444" y="6207908"/>
            <a:ext cx="4071427"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i="1">
                <a:solidFill>
                  <a:srgbClr val="747C74"/>
                </a:solidFill>
              </a:rPr>
              <a:t>We recommend waiting on further Veteran Research until there's additional understanding on around tech feasibility and if needed for further prioritization   </a:t>
            </a:r>
            <a:endParaRPr lang="en-US" i="1">
              <a:solidFill>
                <a:srgbClr val="747C74"/>
              </a:solidFill>
            </a:endParaRPr>
          </a:p>
        </p:txBody>
      </p:sp>
      <p:sp>
        <p:nvSpPr>
          <p:cNvPr id="55" name="Google Shape;410;p7">
            <a:extLst>
              <a:ext uri="{FF2B5EF4-FFF2-40B4-BE49-F238E27FC236}">
                <a16:creationId xmlns:a16="http://schemas.microsoft.com/office/drawing/2014/main" id="{848D1D00-5AAC-E43D-57E3-DF6A3967DF99}"/>
              </a:ext>
            </a:extLst>
          </p:cNvPr>
          <p:cNvSpPr/>
          <p:nvPr/>
        </p:nvSpPr>
        <p:spPr>
          <a:xfrm>
            <a:off x="6374076" y="4523802"/>
            <a:ext cx="5042783" cy="251563"/>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rgbClr val="FDFFFD"/>
                </a:solidFill>
                <a:latin typeface="Source Sans Pro"/>
                <a:ea typeface="Source Sans Pro"/>
              </a:rPr>
              <a:t>Ongoing Journey Map Refinement </a:t>
            </a:r>
            <a:endParaRPr lang="en-US"/>
          </a:p>
        </p:txBody>
      </p:sp>
      <p:sp>
        <p:nvSpPr>
          <p:cNvPr id="57" name="Google Shape;404;p7">
            <a:extLst>
              <a:ext uri="{FF2B5EF4-FFF2-40B4-BE49-F238E27FC236}">
                <a16:creationId xmlns:a16="http://schemas.microsoft.com/office/drawing/2014/main" id="{517415E3-5292-CB76-E3BF-5A88419C6143}"/>
              </a:ext>
            </a:extLst>
          </p:cNvPr>
          <p:cNvSpPr/>
          <p:nvPr/>
        </p:nvSpPr>
        <p:spPr>
          <a:xfrm>
            <a:off x="6391357" y="5676464"/>
            <a:ext cx="5021859" cy="267567"/>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chemeClr val="accent1"/>
                </a:solidFill>
                <a:latin typeface="Source Sans Pro"/>
                <a:ea typeface="Source Sans Pro"/>
              </a:rPr>
              <a:t>Tech Integrations Feasibility &amp; Projection</a:t>
            </a:r>
          </a:p>
        </p:txBody>
      </p:sp>
      <p:grpSp>
        <p:nvGrpSpPr>
          <p:cNvPr id="3" name="Google Shape;448;p7">
            <a:extLst>
              <a:ext uri="{FF2B5EF4-FFF2-40B4-BE49-F238E27FC236}">
                <a16:creationId xmlns:a16="http://schemas.microsoft.com/office/drawing/2014/main" id="{84A101B9-54A8-0DEF-7134-74702582A0A6}"/>
              </a:ext>
            </a:extLst>
          </p:cNvPr>
          <p:cNvGrpSpPr/>
          <p:nvPr/>
        </p:nvGrpSpPr>
        <p:grpSpPr>
          <a:xfrm>
            <a:off x="5705899" y="1483384"/>
            <a:ext cx="1301794" cy="5080376"/>
            <a:chOff x="7066559" y="1368394"/>
            <a:chExt cx="1365250" cy="5282673"/>
          </a:xfrm>
        </p:grpSpPr>
        <p:cxnSp>
          <p:nvCxnSpPr>
            <p:cNvPr id="51" name="Google Shape;449;p7">
              <a:extLst>
                <a:ext uri="{FF2B5EF4-FFF2-40B4-BE49-F238E27FC236}">
                  <a16:creationId xmlns:a16="http://schemas.microsoft.com/office/drawing/2014/main" id="{EB5D661B-9C30-95C6-A9AD-3FC9181444BA}"/>
                </a:ext>
              </a:extLst>
            </p:cNvPr>
            <p:cNvCxnSpPr/>
            <p:nvPr/>
          </p:nvCxnSpPr>
          <p:spPr>
            <a:xfrm>
              <a:off x="7743145" y="1775857"/>
              <a:ext cx="2173" cy="4875210"/>
            </a:xfrm>
            <a:prstGeom prst="straightConnector1">
              <a:avLst/>
            </a:prstGeom>
            <a:noFill/>
            <a:ln w="12700" cap="flat" cmpd="sng">
              <a:solidFill>
                <a:srgbClr val="A1AEBF"/>
              </a:solidFill>
              <a:prstDash val="solid"/>
              <a:round/>
              <a:headEnd type="none" w="sm" len="sm"/>
              <a:tailEnd type="none" w="sm" len="sm"/>
            </a:ln>
          </p:spPr>
        </p:cxnSp>
        <p:grpSp>
          <p:nvGrpSpPr>
            <p:cNvPr id="53" name="Google Shape;450;p7">
              <a:extLst>
                <a:ext uri="{FF2B5EF4-FFF2-40B4-BE49-F238E27FC236}">
                  <a16:creationId xmlns:a16="http://schemas.microsoft.com/office/drawing/2014/main" id="{2DB7AB60-0C00-D3CD-ABAC-68396030BE4D}"/>
                </a:ext>
              </a:extLst>
            </p:cNvPr>
            <p:cNvGrpSpPr/>
            <p:nvPr/>
          </p:nvGrpSpPr>
          <p:grpSpPr>
            <a:xfrm>
              <a:off x="7066559" y="1368394"/>
              <a:ext cx="1365250" cy="428190"/>
              <a:chOff x="7187209" y="1400144"/>
              <a:chExt cx="1365250" cy="428190"/>
            </a:xfrm>
          </p:grpSpPr>
          <p:sp>
            <p:nvSpPr>
              <p:cNvPr id="59" name="Google Shape;451;p7">
                <a:extLst>
                  <a:ext uri="{FF2B5EF4-FFF2-40B4-BE49-F238E27FC236}">
                    <a16:creationId xmlns:a16="http://schemas.microsoft.com/office/drawing/2014/main" id="{06FAE9E2-0AC8-086A-7274-597DD2EDB0F5}"/>
                  </a:ext>
                </a:extLst>
              </p:cNvPr>
              <p:cNvSpPr/>
              <p:nvPr/>
            </p:nvSpPr>
            <p:spPr>
              <a:xfrm>
                <a:off x="7187209" y="1400144"/>
                <a:ext cx="1365250" cy="344167"/>
              </a:xfrm>
              <a:prstGeom prst="roundRect">
                <a:avLst>
                  <a:gd name="adj" fmla="val 16667"/>
                </a:avLst>
              </a:prstGeom>
              <a:solidFill>
                <a:srgbClr val="D3E9FF"/>
              </a:solidFill>
              <a:ln>
                <a:noFill/>
              </a:ln>
            </p:spPr>
            <p:txBody>
              <a:bodyPr spcFirstLastPara="1" wrap="square" lIns="91425" tIns="73150" rIns="91425" bIns="45700" anchor="ctr" anchorCtr="0">
                <a:noAutofit/>
              </a:bodyPr>
              <a:lstStyle/>
              <a:p>
                <a:pPr marL="0" marR="0" lvl="0" indent="0" algn="ctr" rtl="0">
                  <a:lnSpc>
                    <a:spcPct val="100000"/>
                  </a:lnSpc>
                  <a:spcBef>
                    <a:spcPts val="0"/>
                  </a:spcBef>
                  <a:spcAft>
                    <a:spcPts val="0"/>
                  </a:spcAft>
                  <a:buClr>
                    <a:schemeClr val="accent1"/>
                  </a:buClr>
                  <a:buSzPts val="1200"/>
                  <a:buFont typeface="Source Sans Pro SemiBold"/>
                  <a:buNone/>
                </a:pPr>
                <a:r>
                  <a:rPr lang="en-US" sz="1200" b="1" i="0" u="none" strike="noStrike" cap="none">
                    <a:solidFill>
                      <a:schemeClr val="accent1"/>
                    </a:solidFill>
                    <a:latin typeface="Source Sans Pro Semibold"/>
                    <a:ea typeface="Source Sans Pro Semibold"/>
                    <a:cs typeface="Source Sans Pro Semibold"/>
                    <a:sym typeface="Source Sans Pro SemiBold"/>
                  </a:rPr>
                  <a:t>WE ARE HERE</a:t>
                </a:r>
                <a:endParaRPr sz="1200" b="1" i="0" u="none" strike="noStrike" cap="none">
                  <a:solidFill>
                    <a:schemeClr val="accent1"/>
                  </a:solidFill>
                  <a:latin typeface="Source Sans Pro Semibold"/>
                  <a:ea typeface="Source Sans Pro Semibold"/>
                  <a:cs typeface="Source Sans Pro Semibold"/>
                  <a:sym typeface="Source Sans Pro SemiBold"/>
                </a:endParaRPr>
              </a:p>
            </p:txBody>
          </p:sp>
          <p:sp>
            <p:nvSpPr>
              <p:cNvPr id="61" name="Google Shape;452;p7">
                <a:extLst>
                  <a:ext uri="{FF2B5EF4-FFF2-40B4-BE49-F238E27FC236}">
                    <a16:creationId xmlns:a16="http://schemas.microsoft.com/office/drawing/2014/main" id="{64EB44E4-6741-7C03-4DAA-C084DB02DE38}"/>
                  </a:ext>
                </a:extLst>
              </p:cNvPr>
              <p:cNvSpPr/>
              <p:nvPr/>
            </p:nvSpPr>
            <p:spPr>
              <a:xfrm rot="10800000">
                <a:off x="7773027" y="1745784"/>
                <a:ext cx="171449" cy="82550"/>
              </a:xfrm>
              <a:prstGeom prst="triangle">
                <a:avLst>
                  <a:gd name="adj" fmla="val 50000"/>
                </a:avLst>
              </a:prstGeom>
              <a:solidFill>
                <a:srgbClr val="D3E9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grpSp>
      </p:grpSp>
      <p:sp>
        <p:nvSpPr>
          <p:cNvPr id="4" name="Google Shape;263;p4">
            <a:extLst>
              <a:ext uri="{FF2B5EF4-FFF2-40B4-BE49-F238E27FC236}">
                <a16:creationId xmlns:a16="http://schemas.microsoft.com/office/drawing/2014/main" id="{7178F03B-753C-A3A6-CE72-0DE92988886C}"/>
              </a:ext>
            </a:extLst>
          </p:cNvPr>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18</a:t>
            </a:fld>
            <a:endParaRPr>
              <a:latin typeface="Source Sans Pro"/>
              <a:ea typeface="Source Sans Pro"/>
              <a:cs typeface="Source Sans Pro"/>
              <a:sym typeface="Source Sans Pro"/>
            </a:endParaRPr>
          </a:p>
        </p:txBody>
      </p:sp>
      <p:sp>
        <p:nvSpPr>
          <p:cNvPr id="5" name="Google Shape;264;p4">
            <a:extLst>
              <a:ext uri="{FF2B5EF4-FFF2-40B4-BE49-F238E27FC236}">
                <a16:creationId xmlns:a16="http://schemas.microsoft.com/office/drawing/2014/main" id="{0BD814A1-8A3A-D6C7-A428-EFF601806E48}"/>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algn="r"/>
            <a:r>
              <a:rPr lang="en-US" sz="1200">
                <a:solidFill>
                  <a:srgbClr val="747C74"/>
                </a:solidFill>
                <a:latin typeface="Source Sans Pro"/>
                <a:ea typeface="Source Sans Pro"/>
                <a:sym typeface="Source Sans Pro"/>
              </a:rPr>
              <a:t>Community Care</a:t>
            </a:r>
            <a:endParaRPr lang="en-US"/>
          </a:p>
        </p:txBody>
      </p:sp>
      <p:sp>
        <p:nvSpPr>
          <p:cNvPr id="67" name="Google Shape;404;p7">
            <a:extLst>
              <a:ext uri="{FF2B5EF4-FFF2-40B4-BE49-F238E27FC236}">
                <a16:creationId xmlns:a16="http://schemas.microsoft.com/office/drawing/2014/main" id="{ADFAC7F7-AEE5-A67D-FFCB-EBDD5EEB5CF0}"/>
              </a:ext>
            </a:extLst>
          </p:cNvPr>
          <p:cNvSpPr/>
          <p:nvPr/>
        </p:nvSpPr>
        <p:spPr>
          <a:xfrm>
            <a:off x="1344488" y="4858330"/>
            <a:ext cx="2314114" cy="267567"/>
          </a:xfrm>
          <a:prstGeom prst="rect">
            <a:avLst/>
          </a:prstGeom>
          <a:noFill/>
          <a:ln w="12700" cap="flat" cmpd="sng">
            <a:solidFill>
              <a:schemeClr val="accent6">
                <a:lumMod val="75000"/>
              </a:schemeClr>
            </a:solidFill>
            <a:prstDash val="dash"/>
            <a:round/>
            <a:headEnd type="none" w="sm" len="sm"/>
            <a:tailEnd type="none" w="sm" len="sm"/>
          </a:ln>
        </p:spPr>
        <p:txBody>
          <a:bodyPr spcFirstLastPara="1" wrap="square" lIns="60950" tIns="60925" rIns="60950" bIns="60925" anchor="ctr" anchorCtr="0">
            <a:noAutofit/>
          </a:bodyPr>
          <a:lstStyle/>
          <a:p>
            <a:r>
              <a:rPr lang="en-US" sz="850">
                <a:solidFill>
                  <a:schemeClr val="accent1"/>
                </a:solidFill>
                <a:latin typeface="Source Sans Pro"/>
                <a:ea typeface="Source Sans Pro"/>
              </a:rPr>
              <a:t>1095-B</a:t>
            </a:r>
            <a:endParaRPr lang="en-US"/>
          </a:p>
        </p:txBody>
      </p:sp>
      <p:sp>
        <p:nvSpPr>
          <p:cNvPr id="68" name="Google Shape;404;p7">
            <a:extLst>
              <a:ext uri="{FF2B5EF4-FFF2-40B4-BE49-F238E27FC236}">
                <a16:creationId xmlns:a16="http://schemas.microsoft.com/office/drawing/2014/main" id="{861BABA1-876C-78CE-7F83-46D5D21EA49D}"/>
              </a:ext>
            </a:extLst>
          </p:cNvPr>
          <p:cNvSpPr/>
          <p:nvPr/>
        </p:nvSpPr>
        <p:spPr>
          <a:xfrm>
            <a:off x="1357626" y="5698361"/>
            <a:ext cx="4976734" cy="267567"/>
          </a:xfrm>
          <a:prstGeom prst="rect">
            <a:avLst/>
          </a:prstGeom>
          <a:noFill/>
          <a:ln w="12700" cap="flat" cmpd="sng">
            <a:solidFill>
              <a:schemeClr val="accent6">
                <a:lumMod val="75000"/>
              </a:schemeClr>
            </a:solidFill>
            <a:prstDash val="dash"/>
            <a:round/>
            <a:headEnd type="none" w="sm" len="sm"/>
            <a:tailEnd type="none" w="sm" len="sm"/>
          </a:ln>
        </p:spPr>
        <p:txBody>
          <a:bodyPr spcFirstLastPara="1" wrap="square" lIns="60950" tIns="60925" rIns="60950" bIns="60925" anchor="ctr" anchorCtr="0">
            <a:noAutofit/>
          </a:bodyPr>
          <a:lstStyle/>
          <a:p>
            <a:r>
              <a:rPr lang="en-US" sz="850">
                <a:solidFill>
                  <a:schemeClr val="accent1"/>
                </a:solidFill>
                <a:latin typeface="Source Sans Pro"/>
                <a:ea typeface="Source Sans Pro"/>
              </a:rPr>
              <a:t>1095-B</a:t>
            </a:r>
            <a:endParaRPr lang="en-US"/>
          </a:p>
        </p:txBody>
      </p:sp>
      <p:sp>
        <p:nvSpPr>
          <p:cNvPr id="69" name="Google Shape;404;p7">
            <a:extLst>
              <a:ext uri="{FF2B5EF4-FFF2-40B4-BE49-F238E27FC236}">
                <a16:creationId xmlns:a16="http://schemas.microsoft.com/office/drawing/2014/main" id="{B1A4F7C5-107F-3C3D-C4CD-8E8C5421EDAC}"/>
              </a:ext>
            </a:extLst>
          </p:cNvPr>
          <p:cNvSpPr/>
          <p:nvPr/>
        </p:nvSpPr>
        <p:spPr>
          <a:xfrm>
            <a:off x="1344488" y="3281778"/>
            <a:ext cx="4981114" cy="263188"/>
          </a:xfrm>
          <a:prstGeom prst="rect">
            <a:avLst/>
          </a:prstGeom>
          <a:noFill/>
          <a:ln w="12700" cap="flat" cmpd="sng">
            <a:solidFill>
              <a:schemeClr val="accent6">
                <a:lumMod val="75000"/>
              </a:schemeClr>
            </a:solidFill>
            <a:prstDash val="dash"/>
            <a:round/>
            <a:headEnd type="none" w="sm" len="sm"/>
            <a:tailEnd type="none" w="sm" len="sm"/>
          </a:ln>
        </p:spPr>
        <p:txBody>
          <a:bodyPr spcFirstLastPara="1" wrap="square" lIns="60950" tIns="60925" rIns="60950" bIns="60925" anchor="ctr" anchorCtr="0">
            <a:noAutofit/>
          </a:bodyPr>
          <a:lstStyle/>
          <a:p>
            <a:r>
              <a:rPr lang="en-US" sz="850">
                <a:solidFill>
                  <a:schemeClr val="accent1"/>
                </a:solidFill>
                <a:latin typeface="Source Sans Pro"/>
                <a:ea typeface="Source Sans Pro"/>
              </a:rPr>
              <a:t>1095-B</a:t>
            </a:r>
            <a:endParaRPr lang="en-US"/>
          </a:p>
        </p:txBody>
      </p:sp>
      <p:sp>
        <p:nvSpPr>
          <p:cNvPr id="71" name="Google Shape;410;p7">
            <a:extLst>
              <a:ext uri="{FF2B5EF4-FFF2-40B4-BE49-F238E27FC236}">
                <a16:creationId xmlns:a16="http://schemas.microsoft.com/office/drawing/2014/main" id="{E709CA53-DC94-ADE2-98AA-FECD57D89F46}"/>
              </a:ext>
            </a:extLst>
          </p:cNvPr>
          <p:cNvSpPr/>
          <p:nvPr/>
        </p:nvSpPr>
        <p:spPr>
          <a:xfrm>
            <a:off x="2198530" y="3848558"/>
            <a:ext cx="4131195" cy="263875"/>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a:buSzPts val="900"/>
            </a:pPr>
            <a:r>
              <a:rPr lang="en-US" sz="850">
                <a:solidFill>
                  <a:srgbClr val="FDFFFD"/>
                </a:solidFill>
                <a:latin typeface="Source Sans Pro"/>
                <a:ea typeface="Source Sans Pro"/>
                <a:cs typeface="Source Sans Pro"/>
              </a:rPr>
              <a:t>Stakeholder interviews</a:t>
            </a:r>
            <a:endParaRPr lang="en-US" sz="850" b="0" i="0" u="none" strike="noStrike" cap="none">
              <a:solidFill>
                <a:srgbClr val="FDFFFD"/>
              </a:solidFill>
              <a:latin typeface="Source Sans Pro"/>
              <a:ea typeface="Source Sans Pro"/>
              <a:cs typeface="Source Sans Pro"/>
            </a:endParaRPr>
          </a:p>
        </p:txBody>
      </p:sp>
      <p:cxnSp>
        <p:nvCxnSpPr>
          <p:cNvPr id="49" name="Google Shape;398;p7">
            <a:extLst>
              <a:ext uri="{FF2B5EF4-FFF2-40B4-BE49-F238E27FC236}">
                <a16:creationId xmlns:a16="http://schemas.microsoft.com/office/drawing/2014/main" id="{09C53D46-26CE-2C5D-243C-4443A1C92223}"/>
              </a:ext>
            </a:extLst>
          </p:cNvPr>
          <p:cNvCxnSpPr>
            <a:cxnSpLocks/>
          </p:cNvCxnSpPr>
          <p:nvPr/>
        </p:nvCxnSpPr>
        <p:spPr>
          <a:xfrm>
            <a:off x="354530" y="6178557"/>
            <a:ext cx="11080575" cy="0"/>
          </a:xfrm>
          <a:prstGeom prst="straightConnector1">
            <a:avLst/>
          </a:prstGeom>
          <a:noFill/>
          <a:ln w="9525" cap="flat" cmpd="sng">
            <a:solidFill>
              <a:srgbClr val="747C74"/>
            </a:solidFill>
            <a:prstDash val="solid"/>
            <a:round/>
            <a:headEnd type="none" w="sm" len="sm"/>
            <a:tailEnd type="none" w="sm" len="sm"/>
          </a:ln>
        </p:spPr>
      </p:cxnSp>
      <p:sp>
        <p:nvSpPr>
          <p:cNvPr id="63" name="TextBox 62">
            <a:extLst>
              <a:ext uri="{FF2B5EF4-FFF2-40B4-BE49-F238E27FC236}">
                <a16:creationId xmlns:a16="http://schemas.microsoft.com/office/drawing/2014/main" id="{74696D9C-DE03-D7F7-3DBD-BFACA06BDEE1}"/>
              </a:ext>
            </a:extLst>
          </p:cNvPr>
          <p:cNvSpPr txBox="1"/>
          <p:nvPr/>
        </p:nvSpPr>
        <p:spPr>
          <a:xfrm>
            <a:off x="9244159" y="4183369"/>
            <a:ext cx="2127174"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sz="800" i="1"/>
              <a:t>Care Navigator Research TBD</a:t>
            </a:r>
            <a:endParaRPr lang="en-US"/>
          </a:p>
        </p:txBody>
      </p:sp>
      <p:sp>
        <p:nvSpPr>
          <p:cNvPr id="6" name="Google Shape;337;p6">
            <a:extLst>
              <a:ext uri="{FF2B5EF4-FFF2-40B4-BE49-F238E27FC236}">
                <a16:creationId xmlns:a16="http://schemas.microsoft.com/office/drawing/2014/main" id="{E748C5ED-C778-8D35-B701-D92CD51D7C71}"/>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05 Sprint 5 Demo</a:t>
            </a:r>
            <a:endParaRPr sz="12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16955608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52A157-2CB8-6DCB-8D3B-00713BF25DCA}"/>
              </a:ext>
            </a:extLst>
          </p:cNvPr>
          <p:cNvSpPr>
            <a:spLocks noGrp="1"/>
          </p:cNvSpPr>
          <p:nvPr>
            <p:ph type="title"/>
          </p:nvPr>
        </p:nvSpPr>
        <p:spPr>
          <a:xfrm>
            <a:off x="306516" y="709197"/>
            <a:ext cx="8897007" cy="746983"/>
          </a:xfrm>
        </p:spPr>
        <p:txBody>
          <a:bodyPr>
            <a:normAutofit fontScale="90000"/>
          </a:bodyPr>
          <a:lstStyle/>
          <a:p>
            <a:r>
              <a:rPr lang="en-US"/>
              <a:t>We assessed what should go into a plan to develop a solution for Community Care </a:t>
            </a:r>
          </a:p>
        </p:txBody>
      </p:sp>
      <p:sp>
        <p:nvSpPr>
          <p:cNvPr id="3" name="Text Placeholder 2">
            <a:extLst>
              <a:ext uri="{FF2B5EF4-FFF2-40B4-BE49-F238E27FC236}">
                <a16:creationId xmlns:a16="http://schemas.microsoft.com/office/drawing/2014/main" id="{346B9D98-5C00-250F-2E85-76FD3A920D22}"/>
              </a:ext>
            </a:extLst>
          </p:cNvPr>
          <p:cNvSpPr>
            <a:spLocks noGrp="1"/>
          </p:cNvSpPr>
          <p:nvPr>
            <p:ph type="body" idx="1"/>
          </p:nvPr>
        </p:nvSpPr>
        <p:spPr>
          <a:xfrm>
            <a:off x="306516" y="1852667"/>
            <a:ext cx="11353800" cy="4351338"/>
          </a:xfrm>
        </p:spPr>
        <p:txBody>
          <a:bodyPr>
            <a:normAutofit fontScale="77500" lnSpcReduction="20000"/>
          </a:bodyPr>
          <a:lstStyle/>
          <a:p>
            <a:pPr marL="139700" indent="0">
              <a:buNone/>
            </a:pPr>
            <a:r>
              <a:rPr lang="en-US" b="1"/>
              <a:t>Understand</a:t>
            </a:r>
          </a:p>
          <a:p>
            <a:r>
              <a:rPr lang="en-US"/>
              <a:t>Synthesized themes from research</a:t>
            </a:r>
          </a:p>
          <a:p>
            <a:r>
              <a:rPr lang="en-US"/>
              <a:t>Current state user journey map </a:t>
            </a:r>
          </a:p>
          <a:p>
            <a:r>
              <a:rPr lang="en-US"/>
              <a:t>Veteran pain points</a:t>
            </a:r>
          </a:p>
          <a:p>
            <a:r>
              <a:rPr lang="en-US"/>
              <a:t>Technology research on existing landscape</a:t>
            </a:r>
          </a:p>
          <a:p>
            <a:pPr marL="139700" indent="0">
              <a:buNone/>
            </a:pPr>
            <a:r>
              <a:rPr lang="en-US" b="1"/>
              <a:t>Envision the Future</a:t>
            </a:r>
          </a:p>
          <a:p>
            <a:r>
              <a:rPr lang="en-US"/>
              <a:t>Ideation for potential future state near-term solutions</a:t>
            </a:r>
          </a:p>
          <a:p>
            <a:r>
              <a:rPr lang="en-US"/>
              <a:t>Refined user journey map, illustrate future state with near-term solutions</a:t>
            </a:r>
          </a:p>
          <a:p>
            <a:r>
              <a:rPr lang="en-US"/>
              <a:t>Tech potential architecture for future state, with dependencies </a:t>
            </a:r>
          </a:p>
          <a:p>
            <a:r>
              <a:rPr lang="en-US"/>
              <a:t>Open questions still to be answered</a:t>
            </a:r>
          </a:p>
          <a:p>
            <a:pPr marL="139700" indent="0">
              <a:buNone/>
            </a:pPr>
            <a:r>
              <a:rPr lang="en-US" b="1"/>
              <a:t>Plan for future</a:t>
            </a:r>
          </a:p>
          <a:p>
            <a:r>
              <a:rPr lang="en-US"/>
              <a:t>Prioritized future state solutions</a:t>
            </a:r>
          </a:p>
          <a:p>
            <a:r>
              <a:rPr lang="en-US"/>
              <a:t>Phased roadmap (now, next, later) - aligning on MVP</a:t>
            </a:r>
          </a:p>
          <a:p>
            <a:r>
              <a:rPr lang="en-US"/>
              <a:t>Epics and user stories </a:t>
            </a:r>
          </a:p>
          <a:p>
            <a:endParaRPr lang="en-US"/>
          </a:p>
          <a:p>
            <a:endParaRPr lang="en-US"/>
          </a:p>
        </p:txBody>
      </p:sp>
      <p:sp>
        <p:nvSpPr>
          <p:cNvPr id="4" name="Slide Number Placeholder 3">
            <a:extLst>
              <a:ext uri="{FF2B5EF4-FFF2-40B4-BE49-F238E27FC236}">
                <a16:creationId xmlns:a16="http://schemas.microsoft.com/office/drawing/2014/main" id="{EF30D916-BF44-FCC1-0C2B-6AE80D37417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t>19</a:t>
            </a:fld>
            <a:endParaRPr lang="en-US"/>
          </a:p>
        </p:txBody>
      </p:sp>
      <p:sp>
        <p:nvSpPr>
          <p:cNvPr id="5" name="Rectangle 4">
            <a:extLst>
              <a:ext uri="{FF2B5EF4-FFF2-40B4-BE49-F238E27FC236}">
                <a16:creationId xmlns:a16="http://schemas.microsoft.com/office/drawing/2014/main" id="{B7651FB1-3FE6-E20B-3600-01AAC0F88061}"/>
              </a:ext>
            </a:extLst>
          </p:cNvPr>
          <p:cNvSpPr/>
          <p:nvPr/>
        </p:nvSpPr>
        <p:spPr>
          <a:xfrm>
            <a:off x="433952" y="1641528"/>
            <a:ext cx="4494507" cy="43577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Google Shape;337;p6">
            <a:extLst>
              <a:ext uri="{FF2B5EF4-FFF2-40B4-BE49-F238E27FC236}">
                <a16:creationId xmlns:a16="http://schemas.microsoft.com/office/drawing/2014/main" id="{998B1D59-BF40-7A3E-C5E1-52C40461FAA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05 Sprint 5 Demo</a:t>
            </a:r>
            <a:endParaRPr sz="1200" b="0" i="0" u="none" strike="noStrike" cap="none">
              <a:solidFill>
                <a:srgbClr val="747C74"/>
              </a:solidFill>
              <a:latin typeface="Calibri"/>
              <a:ea typeface="Calibri"/>
              <a:cs typeface="Calibri"/>
              <a:sym typeface="Calibri"/>
            </a:endParaRPr>
          </a:p>
        </p:txBody>
      </p:sp>
      <p:sp>
        <p:nvSpPr>
          <p:cNvPr id="12" name="Google Shape;264;p4">
            <a:extLst>
              <a:ext uri="{FF2B5EF4-FFF2-40B4-BE49-F238E27FC236}">
                <a16:creationId xmlns:a16="http://schemas.microsoft.com/office/drawing/2014/main" id="{9FEA076C-4356-439E-8C68-31D207CCC669}"/>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algn="r"/>
            <a:r>
              <a:rPr lang="en-US" sz="1200">
                <a:solidFill>
                  <a:srgbClr val="747C74"/>
                </a:solidFill>
                <a:latin typeface="Source Sans Pro"/>
                <a:ea typeface="Source Sans Pro"/>
                <a:sym typeface="Source Sans Pro"/>
              </a:rPr>
              <a:t>Community Care</a:t>
            </a:r>
            <a:endParaRPr lang="en-US"/>
          </a:p>
        </p:txBody>
      </p:sp>
    </p:spTree>
    <p:extLst>
      <p:ext uri="{BB962C8B-B14F-4D97-AF65-F5344CB8AC3E}">
        <p14:creationId xmlns:p14="http://schemas.microsoft.com/office/powerpoint/2010/main" val="25768796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90"/>
        <p:cNvGrpSpPr/>
        <p:nvPr/>
      </p:nvGrpSpPr>
      <p:grpSpPr>
        <a:xfrm>
          <a:off x="0" y="0"/>
          <a:ext cx="0" cy="0"/>
          <a:chOff x="0" y="0"/>
          <a:chExt cx="0" cy="0"/>
        </a:xfrm>
      </p:grpSpPr>
      <p:sp>
        <p:nvSpPr>
          <p:cNvPr id="191" name="Google Shape;191;p2"/>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Get to know the team</a:t>
            </a:r>
            <a:endParaRPr/>
          </a:p>
        </p:txBody>
      </p:sp>
      <p:sp>
        <p:nvSpPr>
          <p:cNvPr id="192" name="Google Shape;192;p2"/>
          <p:cNvSpPr txBox="1">
            <a:spLocks noGrp="1"/>
          </p:cNvSpPr>
          <p:nvPr>
            <p:ph type="body" idx="4294967295"/>
          </p:nvPr>
        </p:nvSpPr>
        <p:spPr>
          <a:xfrm>
            <a:off x="419100" y="1253332"/>
            <a:ext cx="1446561" cy="277000"/>
          </a:xfrm>
          <a:prstGeom prst="rect">
            <a:avLst/>
          </a:prstGeom>
          <a:noFill/>
          <a:ln>
            <a:noFill/>
          </a:ln>
        </p:spPr>
        <p:txBody>
          <a:bodyPr spcFirstLastPara="1" wrap="square" lIns="0" tIns="45700" rIns="0" bIns="45700" anchor="t" anchorCtr="0">
            <a:noAutofit/>
          </a:bodyPr>
          <a:lstStyle/>
          <a:p>
            <a:pPr marL="0" lvl="0" indent="0" algn="l" rtl="0">
              <a:lnSpc>
                <a:spcPct val="90000"/>
              </a:lnSpc>
              <a:spcBef>
                <a:spcPts val="0"/>
              </a:spcBef>
              <a:spcAft>
                <a:spcPts val="0"/>
              </a:spcAft>
              <a:buClr>
                <a:schemeClr val="accent2"/>
              </a:buClr>
              <a:buSzPts val="1600"/>
              <a:buNone/>
            </a:pPr>
            <a:r>
              <a:rPr lang="en-US" sz="1600">
                <a:solidFill>
                  <a:schemeClr val="accent2"/>
                </a:solidFill>
              </a:rPr>
              <a:t>Core team</a:t>
            </a:r>
            <a:endParaRPr/>
          </a:p>
        </p:txBody>
      </p:sp>
      <p:sp>
        <p:nvSpPr>
          <p:cNvPr id="193" name="Google Shape;193;p2"/>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a:t>
            </a:fld>
            <a:endParaRPr>
              <a:latin typeface="Source Sans Pro"/>
              <a:ea typeface="Source Sans Pro"/>
              <a:cs typeface="Source Sans Pro"/>
              <a:sym typeface="Source Sans Pro"/>
            </a:endParaRPr>
          </a:p>
        </p:txBody>
      </p:sp>
      <p:sp>
        <p:nvSpPr>
          <p:cNvPr id="194" name="Google Shape;194;p2"/>
          <p:cNvSpPr txBox="1"/>
          <p:nvPr/>
        </p:nvSpPr>
        <p:spPr>
          <a:xfrm>
            <a:off x="8917360" y="6408650"/>
            <a:ext cx="2723465"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Source Sans Pro"/>
                <a:sym typeface="Source Sans Pro"/>
              </a:rPr>
              <a:t>Introduction</a:t>
            </a:r>
            <a:endParaRPr sz="1800" b="0" i="0" u="none" strike="noStrike" cap="none">
              <a:solidFill>
                <a:schemeClr val="dk1"/>
              </a:solidFill>
              <a:latin typeface="Calibri"/>
              <a:ea typeface="Calibri"/>
              <a:cs typeface="Calibri"/>
              <a:sym typeface="Calibri"/>
            </a:endParaRPr>
          </a:p>
        </p:txBody>
      </p:sp>
      <p:sp>
        <p:nvSpPr>
          <p:cNvPr id="195" name="Google Shape;195;p2"/>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4-05</a:t>
            </a:r>
            <a:r>
              <a:rPr lang="en-US" sz="1200" b="0" i="0" u="none" strike="noStrike" cap="none">
                <a:solidFill>
                  <a:srgbClr val="747C74"/>
                </a:solidFill>
                <a:latin typeface="Source Sans Pro"/>
                <a:ea typeface="Source Sans Pro"/>
                <a:cs typeface="Source Sans Pro"/>
                <a:sym typeface="Source Sans Pro"/>
              </a:rPr>
              <a:t> Sprint </a:t>
            </a:r>
            <a:r>
              <a:rPr lang="en-US" sz="1200">
                <a:solidFill>
                  <a:srgbClr val="747C74"/>
                </a:solidFill>
                <a:latin typeface="Source Sans Pro"/>
                <a:ea typeface="Source Sans Pro"/>
                <a:cs typeface="Source Sans Pro"/>
                <a:sym typeface="Source Sans Pro"/>
              </a:rPr>
              <a:t>5</a:t>
            </a:r>
            <a:r>
              <a:rPr lang="en-US" sz="1200" b="0" i="0" u="none" strike="noStrike" cap="none">
                <a:solidFill>
                  <a:srgbClr val="747C74"/>
                </a:solidFill>
                <a:latin typeface="Source Sans Pro"/>
                <a:ea typeface="Source Sans Pro"/>
                <a:cs typeface="Source Sans Pro"/>
                <a:sym typeface="Source Sans Pro"/>
              </a:rPr>
              <a:t> Demo</a:t>
            </a:r>
            <a:endParaRPr sz="1800" b="0" i="0" u="none" strike="noStrike" cap="none">
              <a:solidFill>
                <a:srgbClr val="747C74"/>
              </a:solidFill>
              <a:latin typeface="Calibri"/>
              <a:ea typeface="Calibri"/>
              <a:cs typeface="Calibri"/>
              <a:sym typeface="Calibri"/>
            </a:endParaRPr>
          </a:p>
        </p:txBody>
      </p:sp>
      <p:sp>
        <p:nvSpPr>
          <p:cNvPr id="196" name="Google Shape;196;p2"/>
          <p:cNvSpPr txBox="1"/>
          <p:nvPr/>
        </p:nvSpPr>
        <p:spPr>
          <a:xfrm>
            <a:off x="8461466" y="1368152"/>
            <a:ext cx="1446561" cy="277000"/>
          </a:xfrm>
          <a:prstGeom prst="rect">
            <a:avLst/>
          </a:prstGeom>
          <a:noFill/>
          <a:ln>
            <a:noFill/>
          </a:ln>
        </p:spPr>
        <p:txBody>
          <a:bodyPr spcFirstLastPara="1" wrap="square" lIns="0" tIns="45700" rIns="0" bIns="45700" anchor="t" anchorCtr="0">
            <a:normAutofit fontScale="92500" lnSpcReduction="10000"/>
          </a:bodyPr>
          <a:lstStyle/>
          <a:p>
            <a:pPr marL="0" marR="0" lvl="0" indent="0" algn="l" rtl="0">
              <a:lnSpc>
                <a:spcPct val="90000"/>
              </a:lnSpc>
              <a:spcBef>
                <a:spcPts val="0"/>
              </a:spcBef>
              <a:spcAft>
                <a:spcPts val="0"/>
              </a:spcAft>
              <a:buClr>
                <a:schemeClr val="accent2"/>
              </a:buClr>
              <a:buSzPct val="100000"/>
              <a:buFont typeface="Arial"/>
              <a:buNone/>
            </a:pPr>
            <a:r>
              <a:rPr lang="en-US" sz="1600" b="0" i="0" u="none" strike="noStrike" cap="none">
                <a:solidFill>
                  <a:schemeClr val="accent2"/>
                </a:solidFill>
                <a:latin typeface="PT Serif"/>
                <a:ea typeface="PT Serif"/>
                <a:cs typeface="PT Serif"/>
                <a:sym typeface="PT Serif"/>
              </a:rPr>
              <a:t>Executive team</a:t>
            </a:r>
            <a:endParaRPr/>
          </a:p>
        </p:txBody>
      </p:sp>
      <p:sp>
        <p:nvSpPr>
          <p:cNvPr id="197" name="Google Shape;197;p2"/>
          <p:cNvSpPr txBox="1"/>
          <p:nvPr/>
        </p:nvSpPr>
        <p:spPr>
          <a:xfrm>
            <a:off x="438638" y="1716674"/>
            <a:ext cx="1446561" cy="276998"/>
          </a:xfrm>
          <a:prstGeom prst="rect">
            <a:avLst/>
          </a:prstGeom>
          <a:noFill/>
          <a:ln>
            <a:noFill/>
          </a:ln>
        </p:spPr>
        <p:txBody>
          <a:bodyPr spcFirstLastPara="1" wrap="square" lIns="0" tIns="45700" rIns="0" bIns="45700" anchor="t" anchorCtr="0">
            <a:normAutofit/>
          </a:bodyPr>
          <a:lstStyle/>
          <a:p>
            <a:pPr marL="0" marR="0" lvl="0" indent="0" algn="l" rtl="0">
              <a:lnSpc>
                <a:spcPct val="90000"/>
              </a:lnSpc>
              <a:spcBef>
                <a:spcPts val="0"/>
              </a:spcBef>
              <a:spcAft>
                <a:spcPts val="0"/>
              </a:spcAft>
              <a:buClr>
                <a:schemeClr val="dk2"/>
              </a:buClr>
              <a:buSzPts val="1050"/>
              <a:buFont typeface="Arial"/>
              <a:buNone/>
            </a:pPr>
            <a:r>
              <a:rPr lang="en-US" sz="1050" b="1" i="0" u="none" strike="noStrike" cap="none">
                <a:solidFill>
                  <a:schemeClr val="dk2"/>
                </a:solidFill>
                <a:latin typeface="Source Sans Pro Semibold"/>
                <a:ea typeface="Source Sans Pro Semibold"/>
                <a:cs typeface="Source Sans Pro Semibold"/>
                <a:sym typeface="Source Sans Pro SemiBold"/>
              </a:rPr>
              <a:t>PRODUCT</a:t>
            </a:r>
            <a:endParaRPr/>
          </a:p>
        </p:txBody>
      </p:sp>
      <p:sp>
        <p:nvSpPr>
          <p:cNvPr id="198" name="Google Shape;198;p2"/>
          <p:cNvSpPr txBox="1"/>
          <p:nvPr/>
        </p:nvSpPr>
        <p:spPr>
          <a:xfrm>
            <a:off x="5527677" y="1714615"/>
            <a:ext cx="921014" cy="355291"/>
          </a:xfrm>
          <a:prstGeom prst="rect">
            <a:avLst/>
          </a:prstGeom>
          <a:noFill/>
          <a:ln>
            <a:noFill/>
          </a:ln>
        </p:spPr>
        <p:txBody>
          <a:bodyPr spcFirstLastPara="1" wrap="square" lIns="0" tIns="45700" rIns="0" bIns="45700" anchor="t" anchorCtr="0">
            <a:normAutofit/>
          </a:bodyPr>
          <a:lstStyle/>
          <a:p>
            <a:pPr marL="0" marR="0" lvl="0" indent="0" algn="l" rtl="0">
              <a:lnSpc>
                <a:spcPct val="90000"/>
              </a:lnSpc>
              <a:spcBef>
                <a:spcPts val="0"/>
              </a:spcBef>
              <a:spcAft>
                <a:spcPts val="0"/>
              </a:spcAft>
              <a:buClr>
                <a:schemeClr val="dk2"/>
              </a:buClr>
              <a:buSzPts val="1050"/>
              <a:buFont typeface="Arial"/>
              <a:buNone/>
            </a:pPr>
            <a:r>
              <a:rPr lang="en-US" sz="1050" b="1" i="0" u="none" strike="noStrike" cap="none">
                <a:solidFill>
                  <a:schemeClr val="dk2"/>
                </a:solidFill>
                <a:latin typeface="Source Sans Pro Semibold"/>
                <a:ea typeface="Source Sans Pro Semibold"/>
                <a:cs typeface="Source Sans Pro Semibold"/>
                <a:sym typeface="Source Sans Pro SemiBold"/>
              </a:rPr>
              <a:t>ENGINEERING</a:t>
            </a:r>
            <a:endParaRPr/>
          </a:p>
        </p:txBody>
      </p:sp>
      <p:sp>
        <p:nvSpPr>
          <p:cNvPr id="199" name="Google Shape;199;p2"/>
          <p:cNvSpPr txBox="1"/>
          <p:nvPr/>
        </p:nvSpPr>
        <p:spPr>
          <a:xfrm>
            <a:off x="431739" y="4127535"/>
            <a:ext cx="1446561" cy="276998"/>
          </a:xfrm>
          <a:prstGeom prst="rect">
            <a:avLst/>
          </a:prstGeom>
          <a:noFill/>
          <a:ln>
            <a:noFill/>
          </a:ln>
        </p:spPr>
        <p:txBody>
          <a:bodyPr spcFirstLastPara="1" wrap="square" lIns="0" tIns="45700" rIns="0" bIns="45700" anchor="t" anchorCtr="0">
            <a:normAutofit/>
          </a:bodyPr>
          <a:lstStyle/>
          <a:p>
            <a:pPr marL="0" marR="0" lvl="0" indent="0" algn="l" rtl="0">
              <a:lnSpc>
                <a:spcPct val="90000"/>
              </a:lnSpc>
              <a:spcBef>
                <a:spcPts val="0"/>
              </a:spcBef>
              <a:spcAft>
                <a:spcPts val="0"/>
              </a:spcAft>
              <a:buClr>
                <a:schemeClr val="dk2"/>
              </a:buClr>
              <a:buSzPts val="1050"/>
              <a:buFont typeface="Arial"/>
              <a:buNone/>
            </a:pPr>
            <a:r>
              <a:rPr lang="en-US" sz="1050" b="1" i="0" u="none" strike="noStrike" cap="none">
                <a:solidFill>
                  <a:schemeClr val="dk2"/>
                </a:solidFill>
                <a:latin typeface="Source Sans Pro Semibold"/>
                <a:ea typeface="Source Sans Pro Semibold"/>
                <a:cs typeface="Source Sans Pro Semibold"/>
                <a:sym typeface="Source Sans Pro SemiBold"/>
              </a:rPr>
              <a:t>DESIGN</a:t>
            </a:r>
            <a:endParaRPr/>
          </a:p>
        </p:txBody>
      </p:sp>
      <p:pic>
        <p:nvPicPr>
          <p:cNvPr id="201" name="Google Shape;201;p2"/>
          <p:cNvPicPr preferRelativeResize="0"/>
          <p:nvPr/>
        </p:nvPicPr>
        <p:blipFill rotWithShape="1">
          <a:blip r:embed="rId3">
            <a:alphaModFix/>
          </a:blip>
          <a:srcRect l="25632" t="13823" r="25632" b="26974"/>
          <a:stretch/>
        </p:blipFill>
        <p:spPr>
          <a:xfrm>
            <a:off x="1548770" y="2147271"/>
            <a:ext cx="891768" cy="891768"/>
          </a:xfrm>
          <a:prstGeom prst="ellipse">
            <a:avLst/>
          </a:prstGeom>
          <a:noFill/>
          <a:ln>
            <a:noFill/>
          </a:ln>
        </p:spPr>
      </p:pic>
      <p:pic>
        <p:nvPicPr>
          <p:cNvPr id="202" name="Google Shape;202;p2"/>
          <p:cNvPicPr preferRelativeResize="0"/>
          <p:nvPr/>
        </p:nvPicPr>
        <p:blipFill rotWithShape="1">
          <a:blip r:embed="rId4">
            <a:alphaModFix/>
          </a:blip>
          <a:srcRect t="11610" b="16390"/>
          <a:stretch/>
        </p:blipFill>
        <p:spPr>
          <a:xfrm>
            <a:off x="2789783" y="2149030"/>
            <a:ext cx="891768" cy="891768"/>
          </a:xfrm>
          <a:prstGeom prst="ellipse">
            <a:avLst/>
          </a:prstGeom>
          <a:noFill/>
          <a:ln>
            <a:noFill/>
          </a:ln>
        </p:spPr>
      </p:pic>
      <p:pic>
        <p:nvPicPr>
          <p:cNvPr id="203" name="Google Shape;203;p2"/>
          <p:cNvPicPr preferRelativeResize="0"/>
          <p:nvPr/>
        </p:nvPicPr>
        <p:blipFill rotWithShape="1">
          <a:blip r:embed="rId5">
            <a:alphaModFix/>
          </a:blip>
          <a:srcRect l="16160" t="7457" r="11694" b="20393"/>
          <a:stretch/>
        </p:blipFill>
        <p:spPr>
          <a:xfrm>
            <a:off x="419100" y="4512084"/>
            <a:ext cx="889673" cy="889673"/>
          </a:xfrm>
          <a:prstGeom prst="ellipse">
            <a:avLst/>
          </a:prstGeom>
          <a:noFill/>
          <a:ln>
            <a:noFill/>
          </a:ln>
        </p:spPr>
      </p:pic>
      <p:pic>
        <p:nvPicPr>
          <p:cNvPr id="204" name="Google Shape;204;p2"/>
          <p:cNvPicPr preferRelativeResize="0"/>
          <p:nvPr/>
        </p:nvPicPr>
        <p:blipFill rotWithShape="1">
          <a:blip r:embed="rId6">
            <a:alphaModFix/>
          </a:blip>
          <a:srcRect/>
          <a:stretch/>
        </p:blipFill>
        <p:spPr>
          <a:xfrm>
            <a:off x="1754595" y="4489830"/>
            <a:ext cx="900063" cy="900063"/>
          </a:xfrm>
          <a:prstGeom prst="ellipse">
            <a:avLst/>
          </a:prstGeom>
          <a:noFill/>
          <a:ln>
            <a:noFill/>
          </a:ln>
        </p:spPr>
      </p:pic>
      <p:pic>
        <p:nvPicPr>
          <p:cNvPr id="205" name="Google Shape;205;p2"/>
          <p:cNvPicPr preferRelativeResize="0"/>
          <p:nvPr/>
        </p:nvPicPr>
        <p:blipFill rotWithShape="1">
          <a:blip r:embed="rId7">
            <a:alphaModFix/>
          </a:blip>
          <a:srcRect l="12757" t="16393" r="20028" b="16392"/>
          <a:stretch/>
        </p:blipFill>
        <p:spPr>
          <a:xfrm>
            <a:off x="3088472" y="4470010"/>
            <a:ext cx="900063" cy="900063"/>
          </a:xfrm>
          <a:prstGeom prst="ellipse">
            <a:avLst/>
          </a:prstGeom>
          <a:noFill/>
          <a:ln>
            <a:noFill/>
          </a:ln>
        </p:spPr>
      </p:pic>
      <p:pic>
        <p:nvPicPr>
          <p:cNvPr id="206" name="Google Shape;206;p2"/>
          <p:cNvPicPr preferRelativeResize="0"/>
          <p:nvPr/>
        </p:nvPicPr>
        <p:blipFill rotWithShape="1">
          <a:blip r:embed="rId8">
            <a:alphaModFix/>
          </a:blip>
          <a:srcRect/>
          <a:stretch/>
        </p:blipFill>
        <p:spPr>
          <a:xfrm>
            <a:off x="4373170" y="4481129"/>
            <a:ext cx="889673" cy="889674"/>
          </a:xfrm>
          <a:prstGeom prst="ellipse">
            <a:avLst/>
          </a:prstGeom>
          <a:noFill/>
          <a:ln>
            <a:noFill/>
          </a:ln>
        </p:spPr>
      </p:pic>
      <p:pic>
        <p:nvPicPr>
          <p:cNvPr id="207" name="Google Shape;207;p2"/>
          <p:cNvPicPr preferRelativeResize="0"/>
          <p:nvPr/>
        </p:nvPicPr>
        <p:blipFill rotWithShape="1">
          <a:blip r:embed="rId9">
            <a:alphaModFix/>
          </a:blip>
          <a:srcRect/>
          <a:stretch/>
        </p:blipFill>
        <p:spPr>
          <a:xfrm>
            <a:off x="8500677" y="2139966"/>
            <a:ext cx="900063" cy="900063"/>
          </a:xfrm>
          <a:prstGeom prst="ellipse">
            <a:avLst/>
          </a:prstGeom>
          <a:noFill/>
          <a:ln>
            <a:noFill/>
          </a:ln>
        </p:spPr>
      </p:pic>
      <p:pic>
        <p:nvPicPr>
          <p:cNvPr id="208" name="Google Shape;208;p2"/>
          <p:cNvPicPr preferRelativeResize="0"/>
          <p:nvPr/>
        </p:nvPicPr>
        <p:blipFill rotWithShape="1">
          <a:blip r:embed="rId10">
            <a:alphaModFix/>
          </a:blip>
          <a:srcRect/>
          <a:stretch/>
        </p:blipFill>
        <p:spPr>
          <a:xfrm>
            <a:off x="9655059" y="2127733"/>
            <a:ext cx="900063" cy="900063"/>
          </a:xfrm>
          <a:prstGeom prst="ellipse">
            <a:avLst/>
          </a:prstGeom>
          <a:noFill/>
          <a:ln>
            <a:noFill/>
          </a:ln>
        </p:spPr>
      </p:pic>
      <p:pic>
        <p:nvPicPr>
          <p:cNvPr id="209" name="Google Shape;209;p2"/>
          <p:cNvPicPr preferRelativeResize="0"/>
          <p:nvPr/>
        </p:nvPicPr>
        <p:blipFill rotWithShape="1">
          <a:blip r:embed="rId11">
            <a:alphaModFix/>
          </a:blip>
          <a:srcRect/>
          <a:stretch/>
        </p:blipFill>
        <p:spPr>
          <a:xfrm>
            <a:off x="10754084" y="2121123"/>
            <a:ext cx="906673" cy="906673"/>
          </a:xfrm>
          <a:prstGeom prst="ellipse">
            <a:avLst/>
          </a:prstGeom>
          <a:noFill/>
          <a:ln>
            <a:noFill/>
          </a:ln>
        </p:spPr>
      </p:pic>
      <p:pic>
        <p:nvPicPr>
          <p:cNvPr id="210" name="Google Shape;210;p2"/>
          <p:cNvPicPr preferRelativeResize="0"/>
          <p:nvPr/>
        </p:nvPicPr>
        <p:blipFill rotWithShape="1">
          <a:blip r:embed="rId12">
            <a:alphaModFix/>
          </a:blip>
          <a:srcRect/>
          <a:stretch/>
        </p:blipFill>
        <p:spPr>
          <a:xfrm>
            <a:off x="8494068" y="4470304"/>
            <a:ext cx="906673" cy="906673"/>
          </a:xfrm>
          <a:prstGeom prst="ellipse">
            <a:avLst/>
          </a:prstGeom>
          <a:noFill/>
          <a:ln>
            <a:noFill/>
          </a:ln>
        </p:spPr>
      </p:pic>
      <p:pic>
        <p:nvPicPr>
          <p:cNvPr id="211" name="Google Shape;211;p2"/>
          <p:cNvPicPr preferRelativeResize="0"/>
          <p:nvPr/>
        </p:nvPicPr>
        <p:blipFill rotWithShape="1">
          <a:blip r:embed="rId13">
            <a:alphaModFix/>
          </a:blip>
          <a:srcRect/>
          <a:stretch/>
        </p:blipFill>
        <p:spPr>
          <a:xfrm>
            <a:off x="9648450" y="4506989"/>
            <a:ext cx="906673" cy="906673"/>
          </a:xfrm>
          <a:prstGeom prst="ellipse">
            <a:avLst/>
          </a:prstGeom>
          <a:noFill/>
          <a:ln>
            <a:noFill/>
          </a:ln>
        </p:spPr>
      </p:pic>
      <p:sp>
        <p:nvSpPr>
          <p:cNvPr id="212" name="Google Shape;212;p2"/>
          <p:cNvSpPr txBox="1"/>
          <p:nvPr/>
        </p:nvSpPr>
        <p:spPr>
          <a:xfrm>
            <a:off x="1552411" y="3163634"/>
            <a:ext cx="1226148" cy="507831"/>
          </a:xfrm>
          <a:prstGeom prst="rect">
            <a:avLst/>
          </a:prstGeom>
          <a:noFill/>
          <a:ln>
            <a:noFill/>
          </a:ln>
        </p:spPr>
        <p:txBody>
          <a:bodyPr spcFirstLastPara="1" wrap="square" lIns="0" tIns="0" rIns="0" bIns="0" anchor="t" anchorCtr="0">
            <a:spAutoFit/>
          </a:bodyPr>
          <a:lstStyle/>
          <a:p>
            <a:pPr>
              <a:buClr>
                <a:schemeClr val="dk2"/>
              </a:buClr>
              <a:buSzPts val="1200"/>
              <a:buFont typeface="PT Serif"/>
            </a:pPr>
            <a:r>
              <a:rPr lang="en-US" sz="1100" b="1" i="0" u="none" strike="noStrike" cap="none">
                <a:solidFill>
                  <a:schemeClr val="dk2"/>
                </a:solidFill>
                <a:latin typeface="PT Serif"/>
                <a:ea typeface="PT Serif"/>
                <a:cs typeface="PT Serif"/>
                <a:sym typeface="PT Serif"/>
              </a:rPr>
              <a:t>Jordan White</a:t>
            </a:r>
            <a:br>
              <a:rPr lang="en-US" sz="1100" b="0" i="0" u="none" strike="noStrike" cap="none">
                <a:latin typeface="PT Serif"/>
                <a:ea typeface="PT Serif"/>
                <a:cs typeface="PT Serif"/>
              </a:rPr>
            </a:br>
            <a:r>
              <a:rPr lang="en-US" sz="1100" b="0" i="0" u="none" strike="noStrike" cap="none">
                <a:solidFill>
                  <a:schemeClr val="dk2"/>
                </a:solidFill>
                <a:latin typeface="Source Sans Pro"/>
                <a:ea typeface="Source Sans Pro"/>
                <a:cs typeface="Source Sans Pro"/>
                <a:sym typeface="Source Sans Pro"/>
              </a:rPr>
              <a:t>Dallas, TX</a:t>
            </a:r>
            <a:br>
              <a:rPr lang="en-US" sz="1100" b="0" i="0" u="none" strike="noStrike" cap="none">
                <a:latin typeface="Source Sans Pro"/>
                <a:ea typeface="Source Sans Pro"/>
                <a:cs typeface="Source Sans Pro"/>
              </a:rPr>
            </a:br>
            <a:r>
              <a:rPr lang="en-US" sz="1100" b="0" i="0" u="none" strike="noStrike" cap="none">
                <a:solidFill>
                  <a:schemeClr val="dk2"/>
                </a:solidFill>
                <a:latin typeface="Source Sans Pro"/>
                <a:ea typeface="Source Sans Pro"/>
                <a:cs typeface="Source Sans Pro"/>
                <a:sym typeface="Source Sans Pro"/>
              </a:rPr>
              <a:t>Product </a:t>
            </a:r>
            <a:r>
              <a:rPr lang="en-US" sz="1100">
                <a:solidFill>
                  <a:schemeClr val="dk2"/>
                </a:solidFill>
                <a:latin typeface="Source Sans Pro"/>
                <a:ea typeface="Source Sans Pro"/>
                <a:cs typeface="Source Sans Pro"/>
                <a:sym typeface="Source Sans Pro"/>
              </a:rPr>
              <a:t>Manager</a:t>
            </a:r>
            <a:endParaRPr lang="en-US" sz="1100" b="0" i="0" u="none" strike="noStrike" cap="none">
              <a:solidFill>
                <a:schemeClr val="dk2"/>
              </a:solidFill>
              <a:latin typeface="Source Sans Pro"/>
              <a:ea typeface="Source Sans Pro"/>
              <a:cs typeface="Source Sans Pro"/>
            </a:endParaRPr>
          </a:p>
        </p:txBody>
      </p:sp>
      <p:sp>
        <p:nvSpPr>
          <p:cNvPr id="213" name="Google Shape;213;p2"/>
          <p:cNvSpPr txBox="1"/>
          <p:nvPr/>
        </p:nvSpPr>
        <p:spPr>
          <a:xfrm>
            <a:off x="2779395" y="3136081"/>
            <a:ext cx="1226148"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Tami Corson</a:t>
            </a:r>
            <a:endParaRPr sz="1100" b="1"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North Carolina</a:t>
            </a:r>
            <a:endParaRPr sz="1100" b="0" i="0" u="none" strike="noStrike" cap="none">
              <a:solidFill>
                <a:schemeClr val="dk2"/>
              </a:solidFill>
              <a:latin typeface="Source Sans Pro"/>
              <a:ea typeface="Source Sans Pro"/>
              <a:cs typeface="Source Sans Pro"/>
              <a:sym typeface="Source Sans Pro"/>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Scrum Master</a:t>
            </a:r>
            <a:endParaRPr sz="1100" b="0" i="0" u="none" strike="noStrike" cap="none">
              <a:solidFill>
                <a:schemeClr val="dk2"/>
              </a:solidFill>
              <a:latin typeface="Source Sans Pro"/>
              <a:ea typeface="Source Sans Pro"/>
              <a:cs typeface="Source Sans Pro"/>
              <a:sym typeface="Source Sans Pro"/>
            </a:endParaRPr>
          </a:p>
        </p:txBody>
      </p:sp>
      <p:sp>
        <p:nvSpPr>
          <p:cNvPr id="218" name="Google Shape;218;p2"/>
          <p:cNvSpPr txBox="1"/>
          <p:nvPr/>
        </p:nvSpPr>
        <p:spPr>
          <a:xfrm>
            <a:off x="8555414" y="3182932"/>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Jeff Scheire</a:t>
            </a:r>
            <a:endParaRPr sz="1100" b="0"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MO Studio</a:t>
            </a:r>
            <a:endParaRPr sz="1100" b="0" i="0" u="none" strike="noStrike" cap="none">
              <a:solidFill>
                <a:schemeClr val="dk2"/>
              </a:solidFill>
              <a:latin typeface="Source Sans Pro"/>
              <a:ea typeface="Source Sans Pro"/>
              <a:cs typeface="Source Sans Pro"/>
              <a:sym typeface="Source Sans Pro"/>
            </a:endParaRPr>
          </a:p>
        </p:txBody>
      </p:sp>
      <p:sp>
        <p:nvSpPr>
          <p:cNvPr id="219" name="Google Shape;219;p2"/>
          <p:cNvSpPr txBox="1"/>
          <p:nvPr/>
        </p:nvSpPr>
        <p:spPr>
          <a:xfrm>
            <a:off x="10754711" y="3180596"/>
            <a:ext cx="1003124"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Kevin London</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Frog</a:t>
            </a:r>
            <a:endParaRPr sz="1100" b="0" i="0" u="none" strike="noStrike" cap="none">
              <a:solidFill>
                <a:schemeClr val="dk2"/>
              </a:solidFill>
              <a:latin typeface="Source Sans Pro"/>
              <a:ea typeface="Source Sans Pro"/>
              <a:cs typeface="Source Sans Pro"/>
              <a:sym typeface="Source Sans Pro"/>
            </a:endParaRPr>
          </a:p>
        </p:txBody>
      </p:sp>
      <p:sp>
        <p:nvSpPr>
          <p:cNvPr id="220" name="Google Shape;220;p2"/>
          <p:cNvSpPr txBox="1"/>
          <p:nvPr/>
        </p:nvSpPr>
        <p:spPr>
          <a:xfrm>
            <a:off x="9697643" y="3186496"/>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Marcy Jacobs</a:t>
            </a:r>
            <a:endParaRPr sz="1100" b="1"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McKinsey</a:t>
            </a:r>
            <a:endParaRPr sz="1100" b="0" i="0" u="none" strike="noStrike" cap="none">
              <a:solidFill>
                <a:schemeClr val="dk2"/>
              </a:solidFill>
              <a:latin typeface="Source Sans Pro"/>
              <a:ea typeface="Source Sans Pro"/>
              <a:cs typeface="Source Sans Pro"/>
              <a:sym typeface="Source Sans Pro"/>
            </a:endParaRPr>
          </a:p>
        </p:txBody>
      </p:sp>
      <p:sp>
        <p:nvSpPr>
          <p:cNvPr id="221" name="Google Shape;221;p2"/>
          <p:cNvSpPr txBox="1"/>
          <p:nvPr/>
        </p:nvSpPr>
        <p:spPr>
          <a:xfrm>
            <a:off x="3062804" y="5570906"/>
            <a:ext cx="1226148" cy="677108"/>
          </a:xfrm>
          <a:prstGeom prst="rect">
            <a:avLst/>
          </a:prstGeom>
          <a:noFill/>
          <a:ln>
            <a:noFill/>
          </a:ln>
        </p:spPr>
        <p:txBody>
          <a:bodyPr spcFirstLastPara="1" wrap="square" lIns="0" tIns="0" rIns="0" bIns="0" anchor="t" anchorCtr="0">
            <a:spAutoFit/>
          </a:bodyPr>
          <a:lstStyle/>
          <a:p>
            <a:pPr>
              <a:buClr>
                <a:schemeClr val="dk2"/>
              </a:buClr>
              <a:buSzPts val="1200"/>
            </a:pPr>
            <a:r>
              <a:rPr lang="en-US" sz="1100" b="1" i="0" u="none" strike="noStrike" cap="none">
                <a:solidFill>
                  <a:schemeClr val="dk2"/>
                </a:solidFill>
                <a:latin typeface="PT Serif"/>
                <a:ea typeface="PT Serif"/>
                <a:cs typeface="PT Serif"/>
                <a:sym typeface="PT Serif"/>
              </a:rPr>
              <a:t>Grace Hong</a:t>
            </a:r>
            <a:br>
              <a:rPr lang="en-US" sz="1100" b="0" i="0" u="none" strike="noStrike" cap="none">
                <a:latin typeface="PT Serif"/>
                <a:ea typeface="PT Serif"/>
                <a:cs typeface="PT Serif"/>
              </a:rPr>
            </a:br>
            <a:r>
              <a:rPr lang="en-US" sz="1100" b="0" i="0" u="none" strike="noStrike" cap="none">
                <a:solidFill>
                  <a:schemeClr val="dk2"/>
                </a:solidFill>
                <a:latin typeface="Source Sans Pro"/>
                <a:ea typeface="Source Sans Pro"/>
                <a:cs typeface="Source Sans Pro"/>
                <a:sym typeface="Source Sans Pro"/>
              </a:rPr>
              <a:t>New Jersey</a:t>
            </a:r>
            <a:br>
              <a:rPr lang="en-US" sz="1100" b="0" i="0" u="none" strike="noStrike" cap="none">
                <a:latin typeface="Source Sans Pro"/>
                <a:ea typeface="Source Sans Pro"/>
                <a:cs typeface="Source Sans Pro"/>
              </a:rPr>
            </a:br>
            <a:r>
              <a:rPr lang="en-US" sz="1100" b="0" i="0" u="none" strike="noStrike" cap="none">
                <a:solidFill>
                  <a:schemeClr val="dk2"/>
                </a:solidFill>
                <a:latin typeface="Source Sans Pro"/>
                <a:ea typeface="Source Sans Pro"/>
                <a:cs typeface="Source Sans Pro"/>
                <a:sym typeface="Source Sans Pro"/>
              </a:rPr>
              <a:t>Experience </a:t>
            </a:r>
            <a:endParaRPr lang="en-US" sz="1100">
              <a:solidFill>
                <a:schemeClr val="dk2"/>
              </a:solidFill>
              <a:latin typeface="Source Sans Pro"/>
              <a:ea typeface="Source Sans Pro"/>
              <a:cs typeface="Source Sans Pro"/>
              <a:sym typeface="Source Sans Pro"/>
            </a:endParaRPr>
          </a:p>
          <a:p>
            <a:pPr marL="0" marR="0" lvl="0" indent="0" algn="l">
              <a:lnSpc>
                <a:spcPct val="100000"/>
              </a:lnSpc>
              <a:spcBef>
                <a:spcPts val="0"/>
              </a:spcBef>
              <a:spcAft>
                <a:spcPts val="0"/>
              </a:spcAft>
              <a:buSzPts val="1200"/>
              <a:buFont typeface="PT Serif"/>
              <a:buNone/>
            </a:pPr>
            <a:r>
              <a:rPr lang="en-US" sz="1100" b="0" i="0" u="none" strike="noStrike" cap="none">
                <a:solidFill>
                  <a:schemeClr val="dk2"/>
                </a:solidFill>
                <a:latin typeface="Source Sans Pro"/>
                <a:ea typeface="Source Sans Pro"/>
                <a:cs typeface="Source Sans Pro"/>
                <a:sym typeface="Source Sans Pro"/>
              </a:rPr>
              <a:t>Designer</a:t>
            </a:r>
            <a:endParaRPr sz="1100" b="0" i="0" u="none" strike="noStrike" cap="none">
              <a:solidFill>
                <a:schemeClr val="dk2"/>
              </a:solidFill>
              <a:latin typeface="Source Sans Pro"/>
              <a:ea typeface="Source Sans Pro"/>
              <a:cs typeface="Source Sans Pro"/>
            </a:endParaRPr>
          </a:p>
        </p:txBody>
      </p:sp>
      <p:sp>
        <p:nvSpPr>
          <p:cNvPr id="222" name="Google Shape;222;p2"/>
          <p:cNvSpPr txBox="1"/>
          <p:nvPr/>
        </p:nvSpPr>
        <p:spPr>
          <a:xfrm>
            <a:off x="1749600" y="5561241"/>
            <a:ext cx="1322977" cy="84638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Carl Dickerson</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Atlanta, GA</a:t>
            </a:r>
            <a:br>
              <a:rPr lang="en-US" sz="1100" b="0" i="0" u="none" strike="noStrike" cap="none">
                <a:solidFill>
                  <a:schemeClr val="dk2"/>
                </a:solidFill>
                <a:latin typeface="Source Sans Pro"/>
                <a:ea typeface="Source Sans Pro"/>
                <a:cs typeface="Source Sans Pro"/>
                <a:sym typeface="Source Sans Pro"/>
              </a:rPr>
            </a:br>
            <a:r>
              <a:rPr lang="en-US" sz="1100" b="0" i="0" u="none" strike="noStrike" cap="none">
                <a:solidFill>
                  <a:schemeClr val="dk2"/>
                </a:solidFill>
                <a:latin typeface="Source Sans Pro"/>
                <a:ea typeface="Source Sans Pro"/>
                <a:cs typeface="Source Sans Pro"/>
                <a:sym typeface="Source Sans Pro"/>
              </a:rPr>
              <a:t>Content Strategist and Plain Language Content Creator</a:t>
            </a:r>
            <a:endParaRPr sz="1100" b="0" i="0" u="none" strike="noStrike" cap="none">
              <a:solidFill>
                <a:schemeClr val="dk2"/>
              </a:solidFill>
              <a:latin typeface="Source Sans Pro"/>
              <a:ea typeface="Source Sans Pro"/>
              <a:cs typeface="Source Sans Pro"/>
              <a:sym typeface="Source Sans Pro"/>
            </a:endParaRPr>
          </a:p>
        </p:txBody>
      </p:sp>
      <p:sp>
        <p:nvSpPr>
          <p:cNvPr id="223" name="Google Shape;223;p2"/>
          <p:cNvSpPr txBox="1"/>
          <p:nvPr/>
        </p:nvSpPr>
        <p:spPr>
          <a:xfrm>
            <a:off x="451030" y="5569687"/>
            <a:ext cx="1226148"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Kit Casey</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Boston, MA</a:t>
            </a:r>
            <a:br>
              <a:rPr lang="en-US" sz="1100" b="0" i="0" u="none" strike="noStrike" cap="none">
                <a:solidFill>
                  <a:schemeClr val="dk2"/>
                </a:solidFill>
                <a:latin typeface="Source Sans Pro"/>
                <a:ea typeface="Source Sans Pro"/>
                <a:cs typeface="Source Sans Pro"/>
                <a:sym typeface="Source Sans Pro"/>
              </a:rPr>
            </a:br>
            <a:r>
              <a:rPr lang="en-US" sz="1100" b="0" i="0" u="none" strike="noStrike" cap="none">
                <a:solidFill>
                  <a:schemeClr val="dk2"/>
                </a:solidFill>
                <a:latin typeface="Source Sans Pro"/>
                <a:ea typeface="Source Sans Pro"/>
                <a:cs typeface="Source Sans Pro"/>
                <a:sym typeface="Source Sans Pro"/>
              </a:rPr>
              <a:t>Design Director</a:t>
            </a:r>
            <a:endParaRPr sz="1100" b="0" i="0" u="none" strike="noStrike" cap="none">
              <a:solidFill>
                <a:schemeClr val="dk2"/>
              </a:solidFill>
              <a:latin typeface="Source Sans Pro"/>
              <a:ea typeface="Source Sans Pro"/>
              <a:cs typeface="Source Sans Pro"/>
              <a:sym typeface="Source Sans Pro"/>
            </a:endParaRPr>
          </a:p>
        </p:txBody>
      </p:sp>
      <p:sp>
        <p:nvSpPr>
          <p:cNvPr id="224" name="Google Shape;224;p2"/>
          <p:cNvSpPr txBox="1"/>
          <p:nvPr/>
        </p:nvSpPr>
        <p:spPr>
          <a:xfrm>
            <a:off x="4373764" y="5581096"/>
            <a:ext cx="1226148" cy="677108"/>
          </a:xfrm>
          <a:prstGeom prst="rect">
            <a:avLst/>
          </a:prstGeom>
          <a:noFill/>
          <a:ln>
            <a:noFill/>
          </a:ln>
        </p:spPr>
        <p:txBody>
          <a:bodyPr spcFirstLastPara="1" wrap="square" lIns="0" tIns="0" rIns="0" bIns="0" anchor="t" anchorCtr="0">
            <a:spAutoFit/>
          </a:bodyPr>
          <a:lstStyle/>
          <a:p>
            <a:pPr>
              <a:buClr>
                <a:schemeClr val="dk2"/>
              </a:buClr>
              <a:buSzPts val="1200"/>
              <a:buFont typeface="PT Serif"/>
            </a:pPr>
            <a:r>
              <a:rPr lang="en-US" sz="1100" b="1" i="0" u="none" strike="noStrike" cap="none">
                <a:solidFill>
                  <a:schemeClr val="dk2"/>
                </a:solidFill>
                <a:latin typeface="PT Serif"/>
                <a:ea typeface="PT Serif"/>
                <a:cs typeface="PT Serif"/>
                <a:sym typeface="PT Serif"/>
              </a:rPr>
              <a:t>James Lewis</a:t>
            </a:r>
            <a:br>
              <a:rPr lang="en-US" sz="1100" b="0" i="0" u="none" strike="noStrike" cap="none">
                <a:latin typeface="PT Serif"/>
                <a:ea typeface="PT Serif"/>
                <a:cs typeface="PT Serif"/>
              </a:rPr>
            </a:br>
            <a:r>
              <a:rPr lang="en-US" sz="1100" b="0" i="0" u="none" strike="noStrike" cap="none">
                <a:solidFill>
                  <a:schemeClr val="dk2"/>
                </a:solidFill>
                <a:latin typeface="Source Sans Pro"/>
                <a:ea typeface="Source Sans Pro"/>
                <a:cs typeface="Source Sans Pro"/>
                <a:sym typeface="Source Sans Pro"/>
              </a:rPr>
              <a:t>Austin, TX</a:t>
            </a:r>
            <a:br>
              <a:rPr lang="en-US" sz="1100" b="0" i="0" u="none" strike="noStrike" cap="none">
                <a:latin typeface="Source Sans Pro"/>
                <a:ea typeface="Source Sans Pro"/>
                <a:cs typeface="Source Sans Pro"/>
              </a:rPr>
            </a:br>
            <a:r>
              <a:rPr lang="en-US" sz="1100" b="0" i="0" u="none" strike="noStrike" cap="none">
                <a:solidFill>
                  <a:schemeClr val="dk2"/>
                </a:solidFill>
                <a:latin typeface="Source Sans Pro"/>
                <a:ea typeface="Source Sans Pro"/>
                <a:cs typeface="Source Sans Pro"/>
                <a:sym typeface="Source Sans Pro"/>
              </a:rPr>
              <a:t>Accessibility and </a:t>
            </a:r>
            <a:endParaRPr lang="en-US" sz="1100">
              <a:solidFill>
                <a:schemeClr val="dk2"/>
              </a:solidFill>
              <a:latin typeface="Source Sans Pro"/>
              <a:ea typeface="Source Sans Pro"/>
              <a:cs typeface="Source Sans Pro"/>
            </a:endParaRPr>
          </a:p>
          <a:p>
            <a:pPr marL="0" marR="0" lvl="0" indent="0" algn="l">
              <a:lnSpc>
                <a:spcPct val="100000"/>
              </a:lnSpc>
              <a:spcBef>
                <a:spcPts val="0"/>
              </a:spcBef>
              <a:spcAft>
                <a:spcPts val="0"/>
              </a:spcAft>
              <a:buSzPts val="1200"/>
              <a:buFont typeface="PT Serif"/>
              <a:buNone/>
            </a:pPr>
            <a:r>
              <a:rPr lang="en-US" sz="1100">
                <a:solidFill>
                  <a:schemeClr val="dk2"/>
                </a:solidFill>
                <a:latin typeface="Source Sans Pro"/>
                <a:ea typeface="Source Sans Pro"/>
                <a:cs typeface="Source Sans Pro"/>
                <a:sym typeface="Source Sans Pro"/>
              </a:rPr>
              <a:t>UX</a:t>
            </a:r>
            <a:r>
              <a:rPr lang="en-US" sz="1100" b="0" i="0" u="none" strike="noStrike" cap="none">
                <a:solidFill>
                  <a:schemeClr val="dk2"/>
                </a:solidFill>
                <a:latin typeface="Source Sans Pro"/>
                <a:ea typeface="Source Sans Pro"/>
                <a:cs typeface="Source Sans Pro"/>
                <a:sym typeface="Source Sans Pro"/>
              </a:rPr>
              <a:t> Research Lead</a:t>
            </a:r>
            <a:endParaRPr sz="1100" b="0" i="0" u="none" strike="noStrike" cap="none">
              <a:solidFill>
                <a:schemeClr val="dk2"/>
              </a:solidFill>
              <a:latin typeface="Source Sans Pro"/>
              <a:ea typeface="Source Sans Pro"/>
              <a:cs typeface="Source Sans Pro"/>
            </a:endParaRPr>
          </a:p>
        </p:txBody>
      </p:sp>
      <p:sp>
        <p:nvSpPr>
          <p:cNvPr id="225" name="Google Shape;225;p2"/>
          <p:cNvSpPr txBox="1"/>
          <p:nvPr/>
        </p:nvSpPr>
        <p:spPr>
          <a:xfrm>
            <a:off x="8509722" y="5570054"/>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Will Reynolds </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SERVE</a:t>
            </a:r>
            <a:endParaRPr sz="1100" b="0" i="0" u="none" strike="noStrike" cap="none">
              <a:solidFill>
                <a:schemeClr val="dk2"/>
              </a:solidFill>
              <a:latin typeface="Source Sans Pro"/>
              <a:ea typeface="Source Sans Pro"/>
              <a:cs typeface="Source Sans Pro"/>
              <a:sym typeface="Source Sans Pro"/>
            </a:endParaRPr>
          </a:p>
        </p:txBody>
      </p:sp>
      <p:sp>
        <p:nvSpPr>
          <p:cNvPr id="226" name="Google Shape;226;p2"/>
          <p:cNvSpPr txBox="1"/>
          <p:nvPr/>
        </p:nvSpPr>
        <p:spPr>
          <a:xfrm>
            <a:off x="9682440" y="5565974"/>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Ben Morris</a:t>
            </a:r>
            <a:endParaRPr sz="1100" b="0"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Pluribus</a:t>
            </a:r>
            <a:endParaRPr sz="1100" b="0" i="0" u="none" strike="noStrike" cap="none">
              <a:solidFill>
                <a:schemeClr val="dk2"/>
              </a:solidFill>
              <a:latin typeface="Source Sans Pro"/>
              <a:ea typeface="Source Sans Pro"/>
              <a:cs typeface="Source Sans Pro"/>
              <a:sym typeface="Source Sans Pro"/>
            </a:endParaRPr>
          </a:p>
        </p:txBody>
      </p:sp>
      <p:cxnSp>
        <p:nvCxnSpPr>
          <p:cNvPr id="227" name="Google Shape;227;p2"/>
          <p:cNvCxnSpPr>
            <a:cxnSpLocks/>
          </p:cNvCxnSpPr>
          <p:nvPr/>
        </p:nvCxnSpPr>
        <p:spPr>
          <a:xfrm>
            <a:off x="8234550" y="1366372"/>
            <a:ext cx="0" cy="4794644"/>
          </a:xfrm>
          <a:prstGeom prst="straightConnector1">
            <a:avLst/>
          </a:prstGeom>
          <a:noFill/>
          <a:ln w="12700" cap="flat" cmpd="sng">
            <a:solidFill>
              <a:srgbClr val="C7C7C7"/>
            </a:solidFill>
            <a:prstDash val="solid"/>
            <a:miter lim="800000"/>
            <a:headEnd type="none" w="sm" len="sm"/>
            <a:tailEnd type="none" w="sm" len="sm"/>
          </a:ln>
        </p:spPr>
      </p:cxnSp>
      <p:grpSp>
        <p:nvGrpSpPr>
          <p:cNvPr id="228" name="Google Shape;228;p2"/>
          <p:cNvGrpSpPr/>
          <p:nvPr/>
        </p:nvGrpSpPr>
        <p:grpSpPr>
          <a:xfrm>
            <a:off x="5549944" y="2129461"/>
            <a:ext cx="1254831" cy="1680074"/>
            <a:chOff x="4830033" y="2139454"/>
            <a:chExt cx="1254831" cy="1680074"/>
          </a:xfrm>
        </p:grpSpPr>
        <p:sp>
          <p:nvSpPr>
            <p:cNvPr id="229" name="Google Shape;229;p2"/>
            <p:cNvSpPr txBox="1"/>
            <p:nvPr/>
          </p:nvSpPr>
          <p:spPr>
            <a:xfrm>
              <a:off x="4830033" y="3142420"/>
              <a:ext cx="1254831" cy="67710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Teagan Stephenson</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Ft. Lauderdale, FL</a:t>
              </a:r>
              <a:br>
                <a:rPr lang="en-US" sz="1100" b="0" i="0" u="none" strike="noStrike" cap="none">
                  <a:solidFill>
                    <a:schemeClr val="dk2"/>
                  </a:solidFill>
                  <a:latin typeface="Source Sans Pro"/>
                  <a:ea typeface="Source Sans Pro"/>
                  <a:cs typeface="Source Sans Pro"/>
                  <a:sym typeface="Source Sans Pro"/>
                </a:rPr>
              </a:br>
              <a:r>
                <a:rPr lang="en-US" sz="1100" b="0" i="0" u="none" strike="noStrike" cap="none">
                  <a:solidFill>
                    <a:schemeClr val="dk2"/>
                  </a:solidFill>
                  <a:latin typeface="Source Sans Pro"/>
                  <a:ea typeface="Source Sans Pro"/>
                  <a:cs typeface="Source Sans Pro"/>
                  <a:sym typeface="Source Sans Pro"/>
                </a:rPr>
                <a:t>Backend Engineer</a:t>
              </a:r>
              <a:endParaRPr sz="1100" b="0" i="0" u="none" strike="noStrike" cap="none">
                <a:solidFill>
                  <a:schemeClr val="dk2"/>
                </a:solidFill>
                <a:latin typeface="Source Sans Pro"/>
                <a:ea typeface="Source Sans Pro"/>
                <a:cs typeface="Source Sans Pro"/>
                <a:sym typeface="Source Sans Pro"/>
              </a:endParaRPr>
            </a:p>
          </p:txBody>
        </p:sp>
        <p:pic>
          <p:nvPicPr>
            <p:cNvPr id="230" name="Google Shape;230;p2" descr="A picture containing sky, outdoor, person, person&#10;&#10;Description automatically generated"/>
            <p:cNvPicPr preferRelativeResize="0"/>
            <p:nvPr/>
          </p:nvPicPr>
          <p:blipFill rotWithShape="1">
            <a:blip r:embed="rId14">
              <a:alphaModFix/>
            </a:blip>
            <a:srcRect/>
            <a:stretch/>
          </p:blipFill>
          <p:spPr>
            <a:xfrm>
              <a:off x="4831579" y="2139454"/>
              <a:ext cx="889673" cy="907869"/>
            </a:xfrm>
            <a:prstGeom prst="flowChartConnector">
              <a:avLst/>
            </a:prstGeom>
            <a:noFill/>
            <a:ln>
              <a:noFill/>
            </a:ln>
          </p:spPr>
        </p:pic>
      </p:grpSp>
      <p:sp>
        <p:nvSpPr>
          <p:cNvPr id="44" name="Google Shape;212;p2">
            <a:extLst>
              <a:ext uri="{FF2B5EF4-FFF2-40B4-BE49-F238E27FC236}">
                <a16:creationId xmlns:a16="http://schemas.microsoft.com/office/drawing/2014/main" id="{28E8AA2B-7E30-48CF-86E4-5464130C7279}"/>
              </a:ext>
            </a:extLst>
          </p:cNvPr>
          <p:cNvSpPr txBox="1"/>
          <p:nvPr/>
        </p:nvSpPr>
        <p:spPr>
          <a:xfrm>
            <a:off x="272464" y="3158987"/>
            <a:ext cx="1226148" cy="507831"/>
          </a:xfrm>
          <a:prstGeom prst="rect">
            <a:avLst/>
          </a:prstGeom>
          <a:noFill/>
          <a:ln>
            <a:noFill/>
          </a:ln>
        </p:spPr>
        <p:txBody>
          <a:bodyPr spcFirstLastPara="1" wrap="square" lIns="0" tIns="0" rIns="0" bIns="0" anchor="t" anchorCtr="0">
            <a:spAutoFit/>
          </a:bodyPr>
          <a:lstStyle/>
          <a:p>
            <a:r>
              <a:rPr lang="en-US" sz="1100" b="1">
                <a:solidFill>
                  <a:schemeClr val="dk2"/>
                </a:solidFill>
                <a:latin typeface="PT Serif"/>
                <a:ea typeface="Source Sans Pro"/>
                <a:cs typeface="Source Sans Pro"/>
                <a:sym typeface="PT Serif"/>
              </a:rPr>
              <a:t>Munish Sikka</a:t>
            </a:r>
          </a:p>
          <a:p>
            <a:pPr lvl="1"/>
            <a:r>
              <a:rPr lang="en-US" sz="1100">
                <a:solidFill>
                  <a:schemeClr val="dk2"/>
                </a:solidFill>
                <a:latin typeface="Source Sans Pro"/>
                <a:ea typeface="Source Sans Pro"/>
                <a:cs typeface="Source Sans Pro"/>
                <a:sym typeface="PT Serif"/>
              </a:rPr>
              <a:t>Washington DC</a:t>
            </a:r>
            <a:endParaRPr lang="en-US" sz="1100">
              <a:solidFill>
                <a:schemeClr val="dk2"/>
              </a:solidFill>
              <a:latin typeface="Source Sans Pro"/>
              <a:ea typeface="Source Sans Pro"/>
              <a:cs typeface="Source Sans Pro"/>
            </a:endParaRPr>
          </a:p>
          <a:p>
            <a:r>
              <a:rPr lang="en-US" sz="1100" b="0" i="0" u="none" strike="noStrike" cap="none">
                <a:solidFill>
                  <a:schemeClr val="dk2"/>
                </a:solidFill>
                <a:latin typeface="Source Sans Pro"/>
                <a:ea typeface="Source Sans Pro"/>
                <a:cs typeface="Source Sans Pro"/>
                <a:sym typeface="Source Sans Pro"/>
              </a:rPr>
              <a:t>Product </a:t>
            </a:r>
            <a:r>
              <a:rPr lang="en-US" sz="1100">
                <a:solidFill>
                  <a:schemeClr val="dk2"/>
                </a:solidFill>
                <a:latin typeface="Source Sans Pro"/>
                <a:ea typeface="Source Sans Pro"/>
                <a:cs typeface="Source Sans Pro"/>
                <a:sym typeface="Source Sans Pro"/>
              </a:rPr>
              <a:t>Lead</a:t>
            </a:r>
            <a:endParaRPr lang="en-US" sz="1100" b="0" i="0" u="none" strike="noStrike" cap="none">
              <a:solidFill>
                <a:schemeClr val="dk2"/>
              </a:solidFill>
              <a:latin typeface="Source Sans Pro"/>
              <a:ea typeface="Source Sans Pro"/>
              <a:cs typeface="Source Sans Pro"/>
            </a:endParaRPr>
          </a:p>
        </p:txBody>
      </p:sp>
      <p:pic>
        <p:nvPicPr>
          <p:cNvPr id="6" name="Picture 5">
            <a:extLst>
              <a:ext uri="{FF2B5EF4-FFF2-40B4-BE49-F238E27FC236}">
                <a16:creationId xmlns:a16="http://schemas.microsoft.com/office/drawing/2014/main" id="{7948A3F3-9796-46CE-9F61-00A80F8DEF69}"/>
              </a:ext>
            </a:extLst>
          </p:cNvPr>
          <p:cNvPicPr>
            <a:picLocks noChangeAspect="1"/>
          </p:cNvPicPr>
          <p:nvPr/>
        </p:nvPicPr>
        <p:blipFill rotWithShape="1">
          <a:blip r:embed="rId15"/>
          <a:srcRect l="14185" t="16338" r="8961" b="12605"/>
          <a:stretch/>
        </p:blipFill>
        <p:spPr>
          <a:xfrm>
            <a:off x="277002" y="2125680"/>
            <a:ext cx="943365" cy="889673"/>
          </a:xfrm>
          <a:prstGeom prst="flowChartConnector">
            <a:avLst/>
          </a:prstGeom>
        </p:spPr>
      </p:pic>
      <p:pic>
        <p:nvPicPr>
          <p:cNvPr id="7" name="Picture 6" descr="A person with a beard&#10;&#10;Description automatically generated with low confidence">
            <a:extLst>
              <a:ext uri="{FF2B5EF4-FFF2-40B4-BE49-F238E27FC236}">
                <a16:creationId xmlns:a16="http://schemas.microsoft.com/office/drawing/2014/main" id="{95A77363-E608-4059-A435-11A522FD102A}"/>
              </a:ext>
            </a:extLst>
          </p:cNvPr>
          <p:cNvPicPr>
            <a:picLocks noChangeAspect="1"/>
          </p:cNvPicPr>
          <p:nvPr/>
        </p:nvPicPr>
        <p:blipFill rotWithShape="1">
          <a:blip r:embed="rId16"/>
          <a:srcRect l="14161" r="14005"/>
          <a:stretch/>
        </p:blipFill>
        <p:spPr>
          <a:xfrm>
            <a:off x="10796053" y="4482868"/>
            <a:ext cx="880529" cy="908764"/>
          </a:xfrm>
          <a:prstGeom prst="flowChartConnector">
            <a:avLst/>
          </a:prstGeom>
        </p:spPr>
      </p:pic>
      <p:sp>
        <p:nvSpPr>
          <p:cNvPr id="52" name="Google Shape;218;p2">
            <a:extLst>
              <a:ext uri="{FF2B5EF4-FFF2-40B4-BE49-F238E27FC236}">
                <a16:creationId xmlns:a16="http://schemas.microsoft.com/office/drawing/2014/main" id="{6C9D2FE4-3EA2-442C-939B-BC72E4710CD2}"/>
              </a:ext>
            </a:extLst>
          </p:cNvPr>
          <p:cNvSpPr txBox="1"/>
          <p:nvPr/>
        </p:nvSpPr>
        <p:spPr>
          <a:xfrm>
            <a:off x="10805733" y="5573668"/>
            <a:ext cx="1003124" cy="48474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050" b="1">
                <a:solidFill>
                  <a:schemeClr val="dk2"/>
                </a:solidFill>
                <a:latin typeface="PT Serif"/>
                <a:ea typeface="PT Serif"/>
                <a:cs typeface="PT Serif"/>
                <a:sym typeface="PT Serif"/>
              </a:rPr>
              <a:t>Travis</a:t>
            </a:r>
            <a:r>
              <a:rPr lang="en-US" sz="1050" b="1" i="0" u="none" strike="noStrike" cap="none">
                <a:solidFill>
                  <a:schemeClr val="dk2"/>
                </a:solidFill>
                <a:latin typeface="PT Serif"/>
                <a:ea typeface="PT Serif"/>
                <a:cs typeface="PT Serif"/>
                <a:sym typeface="PT Serif"/>
              </a:rPr>
              <a:t> Hoffmann</a:t>
            </a:r>
            <a:endParaRPr sz="1050" b="0"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050" b="0" i="0" u="none" strike="noStrike" cap="none">
                <a:solidFill>
                  <a:schemeClr val="dk2"/>
                </a:solidFill>
                <a:latin typeface="Source Sans Pro"/>
                <a:ea typeface="Source Sans Pro"/>
                <a:cs typeface="Source Sans Pro"/>
                <a:sym typeface="Source Sans Pro"/>
              </a:rPr>
              <a:t>MO Studio</a:t>
            </a:r>
            <a:endParaRPr sz="1050" b="0" i="0" u="none" strike="noStrike" cap="none">
              <a:solidFill>
                <a:schemeClr val="dk2"/>
              </a:solidFill>
              <a:latin typeface="Source Sans Pro"/>
              <a:ea typeface="Source Sans Pro"/>
              <a:cs typeface="Source Sans Pro"/>
              <a:sym typeface="Source Sans Pro"/>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52A157-2CB8-6DCB-8D3B-00713BF25DCA}"/>
              </a:ext>
            </a:extLst>
          </p:cNvPr>
          <p:cNvSpPr>
            <a:spLocks noGrp="1"/>
          </p:cNvSpPr>
          <p:nvPr>
            <p:ph type="title"/>
          </p:nvPr>
        </p:nvSpPr>
        <p:spPr>
          <a:xfrm>
            <a:off x="320246" y="721837"/>
            <a:ext cx="9041525" cy="746983"/>
          </a:xfrm>
        </p:spPr>
        <p:txBody>
          <a:bodyPr>
            <a:normAutofit fontScale="90000"/>
          </a:bodyPr>
          <a:lstStyle/>
          <a:p>
            <a:r>
              <a:rPr lang="en-US"/>
              <a:t>We conducted business partner interviews and synthesized themes we heard</a:t>
            </a:r>
          </a:p>
        </p:txBody>
      </p:sp>
      <p:sp>
        <p:nvSpPr>
          <p:cNvPr id="3" name="Text Placeholder 2">
            <a:extLst>
              <a:ext uri="{FF2B5EF4-FFF2-40B4-BE49-F238E27FC236}">
                <a16:creationId xmlns:a16="http://schemas.microsoft.com/office/drawing/2014/main" id="{346B9D98-5C00-250F-2E85-76FD3A920D22}"/>
              </a:ext>
            </a:extLst>
          </p:cNvPr>
          <p:cNvSpPr>
            <a:spLocks noGrp="1"/>
          </p:cNvSpPr>
          <p:nvPr>
            <p:ph type="body" idx="1"/>
          </p:nvPr>
        </p:nvSpPr>
        <p:spPr>
          <a:xfrm>
            <a:off x="321244" y="2209428"/>
            <a:ext cx="10791593" cy="3931083"/>
          </a:xfrm>
        </p:spPr>
        <p:txBody>
          <a:bodyPr>
            <a:normAutofit/>
          </a:bodyPr>
          <a:lstStyle/>
          <a:p>
            <a:r>
              <a:rPr lang="en-US" sz="1200"/>
              <a:t>There are </a:t>
            </a:r>
            <a:r>
              <a:rPr lang="en-US" sz="1200" i="1"/>
              <a:t>many </a:t>
            </a:r>
            <a:r>
              <a:rPr lang="en-US" sz="1200"/>
              <a:t>disparate systems (40-43), which makes it hard to get reliable data (and/or sync data)</a:t>
            </a:r>
          </a:p>
          <a:p>
            <a:r>
              <a:rPr lang="en-US" sz="1200"/>
              <a:t>There are </a:t>
            </a:r>
            <a:r>
              <a:rPr lang="en-US" sz="1200" i="1"/>
              <a:t>many </a:t>
            </a:r>
            <a:r>
              <a:rPr lang="en-US" sz="1200"/>
              <a:t>steps in the process to receive CC; some parts can be done online, while others are manual</a:t>
            </a:r>
          </a:p>
          <a:p>
            <a:pPr lvl="1">
              <a:buSzPts val="1400"/>
            </a:pPr>
            <a:r>
              <a:rPr lang="en-US" sz="1200"/>
              <a:t>Trickle down to Veteran users, causing frustration and pain points, </a:t>
            </a:r>
            <a:r>
              <a:rPr lang="en-US" sz="1200" i="1"/>
              <a:t>i.e., "why should go online if I still have to call or wait for a call from someone?"</a:t>
            </a:r>
          </a:p>
          <a:p>
            <a:pPr lvl="1"/>
            <a:r>
              <a:rPr lang="en-US" sz="1200"/>
              <a:t>Leads to high abandonment rates</a:t>
            </a:r>
          </a:p>
          <a:p>
            <a:pPr lvl="1"/>
            <a:r>
              <a:rPr lang="en-US" sz="1200"/>
              <a:t>Many Veterans lack general awareness of the benefit and/or don't fully utilize it</a:t>
            </a:r>
          </a:p>
          <a:p>
            <a:r>
              <a:rPr lang="en-US" sz="1200"/>
              <a:t>Not enough transparency into the billing process contributes to knowledge gaps for Veterans</a:t>
            </a:r>
          </a:p>
          <a:p>
            <a:pPr lvl="1"/>
            <a:r>
              <a:rPr lang="en-US" sz="1200"/>
              <a:t>A major pain point is understanding how co-pays &amp; billing work as well as comprehension of the statement</a:t>
            </a:r>
          </a:p>
          <a:p>
            <a:pPr lvl="1"/>
            <a:r>
              <a:rPr lang="en-US" sz="1200"/>
              <a:t>There's a lot of information on CC &amp; co-pays, but it's hard to find and not written clearly</a:t>
            </a:r>
          </a:p>
          <a:p>
            <a:pPr lvl="1"/>
            <a:r>
              <a:rPr lang="en-US" sz="1200"/>
              <a:t>Billing and Debt consolidation may have some MVP's that more readily reveal themselves (VA technical guidance)</a:t>
            </a:r>
          </a:p>
          <a:p>
            <a:r>
              <a:rPr lang="en-US" sz="1200" b="1"/>
              <a:t>The Veteran is the integrator</a:t>
            </a:r>
            <a:r>
              <a:rPr lang="en-US" sz="1200"/>
              <a:t>: Understanding/getting records to and from CC and VA doctors is a pain point for both Veterans as well as providers</a:t>
            </a:r>
          </a:p>
          <a:p>
            <a:r>
              <a:rPr lang="en-US" sz="1200"/>
              <a:t>Prescriptions are a persistent pain point: tracking holistically, filling at the VA or externally (e.g., Walgreens), and ensuring benefit coverage of CC prescribed medications; early VA technical guidance advises against starting with this product feature since the outbound capability is in flux with EMR (chasing the wind) and the program office has a lot of work to also figure out how to be compliant (state-to-state especially) on prescription tracking</a:t>
            </a:r>
          </a:p>
          <a:p>
            <a:r>
              <a:rPr lang="en-US" sz="1200"/>
              <a:t>There's drastic </a:t>
            </a:r>
            <a:r>
              <a:rPr lang="en-US" sz="1200" b="1"/>
              <a:t>drop-off rate after Veterans are referred</a:t>
            </a:r>
            <a:r>
              <a:rPr lang="en-US" sz="1200"/>
              <a:t> (12 million Veterans have been referred since March 2019, but only 3 million Veterans have completed CC); About 5,000 referrals have occurred over the last 12 months*</a:t>
            </a:r>
          </a:p>
        </p:txBody>
      </p:sp>
      <p:sp>
        <p:nvSpPr>
          <p:cNvPr id="4" name="Slide Number Placeholder 3">
            <a:extLst>
              <a:ext uri="{FF2B5EF4-FFF2-40B4-BE49-F238E27FC236}">
                <a16:creationId xmlns:a16="http://schemas.microsoft.com/office/drawing/2014/main" id="{EF30D916-BF44-FCC1-0C2B-6AE80D37417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t>20</a:t>
            </a:fld>
            <a:endParaRPr lang="en-US"/>
          </a:p>
        </p:txBody>
      </p:sp>
      <p:sp>
        <p:nvSpPr>
          <p:cNvPr id="5" name="Google Shape;605;p14">
            <a:extLst>
              <a:ext uri="{FF2B5EF4-FFF2-40B4-BE49-F238E27FC236}">
                <a16:creationId xmlns:a16="http://schemas.microsoft.com/office/drawing/2014/main" id="{36D64229-262E-4A6E-9C18-00F422DCB439}"/>
              </a:ext>
            </a:extLst>
          </p:cNvPr>
          <p:cNvSpPr txBox="1"/>
          <p:nvPr/>
        </p:nvSpPr>
        <p:spPr>
          <a:xfrm>
            <a:off x="837964" y="5992598"/>
            <a:ext cx="5300374" cy="176972"/>
          </a:xfrm>
          <a:prstGeom prst="rect">
            <a:avLst/>
          </a:prstGeom>
          <a:noFill/>
          <a:ln>
            <a:noFill/>
          </a:ln>
        </p:spPr>
        <p:txBody>
          <a:bodyPr spcFirstLastPara="1" wrap="square" lIns="0" tIns="0" rIns="0" bIns="0" anchor="t" anchorCtr="0">
            <a:spAutoFit/>
          </a:bodyPr>
          <a:lstStyle/>
          <a:p>
            <a:pPr>
              <a:lnSpc>
                <a:spcPct val="114999"/>
              </a:lnSpc>
            </a:pPr>
            <a:r>
              <a:rPr lang="en-US" sz="1000" i="1">
                <a:solidFill>
                  <a:schemeClr val="tx1">
                    <a:lumMod val="50000"/>
                    <a:lumOff val="50000"/>
                  </a:schemeClr>
                </a:solidFill>
                <a:latin typeface="PT Serif"/>
                <a:sym typeface="PT Serif"/>
              </a:rPr>
              <a:t>*Business owner interview with Alysse Mengason – Communications, Office of Community Care</a:t>
            </a:r>
            <a:endParaRPr lang="en-US" sz="1000" i="1">
              <a:solidFill>
                <a:schemeClr val="tx1">
                  <a:lumMod val="50000"/>
                  <a:lumOff val="50000"/>
                </a:schemeClr>
              </a:solidFill>
            </a:endParaRPr>
          </a:p>
        </p:txBody>
      </p:sp>
      <p:grpSp>
        <p:nvGrpSpPr>
          <p:cNvPr id="6" name="Google Shape;602;p14">
            <a:extLst>
              <a:ext uri="{FF2B5EF4-FFF2-40B4-BE49-F238E27FC236}">
                <a16:creationId xmlns:a16="http://schemas.microsoft.com/office/drawing/2014/main" id="{E77083C8-F76C-4F07-B275-7CDA0DAD89E4}"/>
              </a:ext>
            </a:extLst>
          </p:cNvPr>
          <p:cNvGrpSpPr/>
          <p:nvPr/>
        </p:nvGrpSpPr>
        <p:grpSpPr>
          <a:xfrm>
            <a:off x="410431" y="309109"/>
            <a:ext cx="5150524" cy="369094"/>
            <a:chOff x="410431" y="309109"/>
            <a:chExt cx="5150524" cy="369094"/>
          </a:xfrm>
        </p:grpSpPr>
        <p:sp>
          <p:nvSpPr>
            <p:cNvPr id="7" name="Google Shape;603;p14">
              <a:extLst>
                <a:ext uri="{FF2B5EF4-FFF2-40B4-BE49-F238E27FC236}">
                  <a16:creationId xmlns:a16="http://schemas.microsoft.com/office/drawing/2014/main" id="{8D8EC8C6-E4D1-4DBB-983D-FE47EF3371A4}"/>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8" name="Google Shape;604;p14">
              <a:extLst>
                <a:ext uri="{FF2B5EF4-FFF2-40B4-BE49-F238E27FC236}">
                  <a16:creationId xmlns:a16="http://schemas.microsoft.com/office/drawing/2014/main" id="{0C428FE0-CEA6-4B06-818A-B15A33773397}"/>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10" name="Google Shape;337;p6">
            <a:extLst>
              <a:ext uri="{FF2B5EF4-FFF2-40B4-BE49-F238E27FC236}">
                <a16:creationId xmlns:a16="http://schemas.microsoft.com/office/drawing/2014/main" id="{1E5EB53C-4C7C-0E54-81CD-8BA7C0A66A7F}"/>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05 Sprint 5 Demo</a:t>
            </a:r>
            <a:endParaRPr sz="1200" b="0" i="0" u="none" strike="noStrike" cap="none">
              <a:solidFill>
                <a:srgbClr val="747C74"/>
              </a:solidFill>
              <a:latin typeface="Calibri"/>
              <a:ea typeface="Calibri"/>
              <a:cs typeface="Calibri"/>
              <a:sym typeface="Calibri"/>
            </a:endParaRPr>
          </a:p>
        </p:txBody>
      </p:sp>
      <p:sp>
        <p:nvSpPr>
          <p:cNvPr id="12" name="Google Shape;605;p14">
            <a:extLst>
              <a:ext uri="{FF2B5EF4-FFF2-40B4-BE49-F238E27FC236}">
                <a16:creationId xmlns:a16="http://schemas.microsoft.com/office/drawing/2014/main" id="{33B203BF-E480-8FAF-0565-392D3EFF8B4E}"/>
              </a:ext>
            </a:extLst>
          </p:cNvPr>
          <p:cNvSpPr txBox="1"/>
          <p:nvPr/>
        </p:nvSpPr>
        <p:spPr>
          <a:xfrm>
            <a:off x="420230" y="1712573"/>
            <a:ext cx="7948788" cy="247760"/>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hlinkClick r:id="rId2"/>
              </a:rPr>
              <a:t>User Story</a:t>
            </a:r>
            <a:r>
              <a:rPr lang="en-US" b="0" i="0" strike="noStrike" cap="none">
                <a:solidFill>
                  <a:schemeClr val="tx1"/>
                </a:solidFill>
                <a:latin typeface="PT Serif"/>
                <a:ea typeface="PT Serif"/>
                <a:cs typeface="PT Serif"/>
                <a:sym typeface="PT Serif"/>
              </a:rPr>
              <a:t>: </a:t>
            </a:r>
            <a:r>
              <a:rPr lang="en-US" b="0" i="0" strike="noStrike" cap="none">
                <a:solidFill>
                  <a:schemeClr val="tx1">
                    <a:lumMod val="50000"/>
                    <a:lumOff val="50000"/>
                  </a:schemeClr>
                </a:solidFill>
                <a:latin typeface="PT Serif"/>
                <a:ea typeface="PT Serif"/>
                <a:cs typeface="PT Serif"/>
                <a:sym typeface="PT Serif"/>
              </a:rPr>
              <a:t>CC: Conduct product discovery through business partner interview(s) to pull insights</a:t>
            </a:r>
          </a:p>
        </p:txBody>
      </p:sp>
      <p:sp>
        <p:nvSpPr>
          <p:cNvPr id="13" name="Google Shape;264;p4">
            <a:extLst>
              <a:ext uri="{FF2B5EF4-FFF2-40B4-BE49-F238E27FC236}">
                <a16:creationId xmlns:a16="http://schemas.microsoft.com/office/drawing/2014/main" id="{F106DBCA-0341-48B8-A479-099B70D97CBC}"/>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algn="r"/>
            <a:r>
              <a:rPr lang="en-US" sz="1200">
                <a:solidFill>
                  <a:srgbClr val="747C74"/>
                </a:solidFill>
                <a:latin typeface="Source Sans Pro"/>
                <a:ea typeface="Source Sans Pro"/>
                <a:sym typeface="Source Sans Pro"/>
              </a:rPr>
              <a:t>Community Care</a:t>
            </a:r>
            <a:endParaRPr lang="en-US"/>
          </a:p>
        </p:txBody>
      </p:sp>
    </p:spTree>
    <p:extLst>
      <p:ext uri="{BB962C8B-B14F-4D97-AF65-F5344CB8AC3E}">
        <p14:creationId xmlns:p14="http://schemas.microsoft.com/office/powerpoint/2010/main" val="37622384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13" descr="Screenshot overview of Community Care Journey Map">
            <a:extLst>
              <a:ext uri="{FF2B5EF4-FFF2-40B4-BE49-F238E27FC236}">
                <a16:creationId xmlns:a16="http://schemas.microsoft.com/office/drawing/2014/main" id="{D0703C0D-B8EB-60B3-A27C-B0A7EBD2B65C}"/>
              </a:ext>
            </a:extLst>
          </p:cNvPr>
          <p:cNvPicPr>
            <a:picLocks noChangeAspect="1"/>
          </p:cNvPicPr>
          <p:nvPr/>
        </p:nvPicPr>
        <p:blipFill>
          <a:blip r:embed="rId2"/>
          <a:stretch>
            <a:fillRect/>
          </a:stretch>
        </p:blipFill>
        <p:spPr>
          <a:xfrm>
            <a:off x="4729721" y="1942786"/>
            <a:ext cx="6080594" cy="4444038"/>
          </a:xfrm>
          <a:prstGeom prst="rect">
            <a:avLst/>
          </a:prstGeom>
        </p:spPr>
      </p:pic>
      <p:sp>
        <p:nvSpPr>
          <p:cNvPr id="2" name="Title 1">
            <a:extLst>
              <a:ext uri="{FF2B5EF4-FFF2-40B4-BE49-F238E27FC236}">
                <a16:creationId xmlns:a16="http://schemas.microsoft.com/office/drawing/2014/main" id="{AB52A157-2CB8-6DCB-8D3B-00713BF25DCA}"/>
              </a:ext>
            </a:extLst>
          </p:cNvPr>
          <p:cNvSpPr>
            <a:spLocks noGrp="1"/>
          </p:cNvSpPr>
          <p:nvPr>
            <p:ph type="title"/>
          </p:nvPr>
        </p:nvSpPr>
        <p:spPr>
          <a:xfrm>
            <a:off x="320246" y="721837"/>
            <a:ext cx="11357918" cy="541038"/>
          </a:xfrm>
        </p:spPr>
        <p:txBody>
          <a:bodyPr>
            <a:normAutofit fontScale="90000"/>
          </a:bodyPr>
          <a:lstStyle/>
          <a:p>
            <a:r>
              <a:rPr lang="en-US"/>
              <a:t>We synthesized what we learned into a draft of a journey map</a:t>
            </a:r>
          </a:p>
        </p:txBody>
      </p:sp>
      <p:sp>
        <p:nvSpPr>
          <p:cNvPr id="4" name="Slide Number Placeholder 3">
            <a:extLst>
              <a:ext uri="{FF2B5EF4-FFF2-40B4-BE49-F238E27FC236}">
                <a16:creationId xmlns:a16="http://schemas.microsoft.com/office/drawing/2014/main" id="{EF30D916-BF44-FCC1-0C2B-6AE80D37417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t>21</a:t>
            </a:fld>
            <a:endParaRPr lang="en-US"/>
          </a:p>
        </p:txBody>
      </p:sp>
      <p:sp>
        <p:nvSpPr>
          <p:cNvPr id="5" name="Google Shape;605;p14">
            <a:extLst>
              <a:ext uri="{FF2B5EF4-FFF2-40B4-BE49-F238E27FC236}">
                <a16:creationId xmlns:a16="http://schemas.microsoft.com/office/drawing/2014/main" id="{36D64229-262E-4A6E-9C18-00F422DCB439}"/>
              </a:ext>
            </a:extLst>
          </p:cNvPr>
          <p:cNvSpPr txBox="1"/>
          <p:nvPr/>
        </p:nvSpPr>
        <p:spPr>
          <a:xfrm>
            <a:off x="415583" y="1350158"/>
            <a:ext cx="9700458" cy="710964"/>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hlinkClick r:id="rId3"/>
              </a:rPr>
              <a:t>User Story</a:t>
            </a:r>
            <a:r>
              <a:rPr lang="en-US" b="0" i="0" strike="noStrike" cap="none">
                <a:solidFill>
                  <a:schemeClr val="tx1"/>
                </a:solidFill>
                <a:latin typeface="PT Serif"/>
                <a:ea typeface="PT Serif"/>
                <a:cs typeface="PT Serif"/>
                <a:sym typeface="PT Serif"/>
              </a:rPr>
              <a:t>: </a:t>
            </a:r>
            <a:r>
              <a:rPr lang="en-US" b="0" i="0" strike="noStrike" cap="none">
                <a:solidFill>
                  <a:schemeClr val="tx1">
                    <a:lumMod val="50000"/>
                    <a:lumOff val="50000"/>
                  </a:schemeClr>
                </a:solidFill>
                <a:latin typeface="PT Serif"/>
                <a:ea typeface="PT Serif"/>
                <a:cs typeface="PT Serif"/>
                <a:sym typeface="PT Serif"/>
              </a:rPr>
              <a:t>CC: </a:t>
            </a:r>
            <a:r>
              <a:rPr lang="en-US">
                <a:solidFill>
                  <a:schemeClr val="tx1">
                    <a:lumMod val="50000"/>
                    <a:lumOff val="50000"/>
                  </a:schemeClr>
                </a:solidFill>
                <a:latin typeface="PT Serif"/>
                <a:ea typeface="PT Serif"/>
                <a:cs typeface="PT Serif"/>
                <a:sym typeface="PT Serif"/>
              </a:rPr>
              <a:t>Conduct initial product discovery through review of current MHV work product and past documentation</a:t>
            </a:r>
          </a:p>
          <a:p>
            <a:r>
              <a:rPr lang="en-US">
                <a:solidFill>
                  <a:schemeClr val="tx1"/>
                </a:solidFill>
                <a:latin typeface="PT Serif"/>
                <a:ea typeface="PT Serif"/>
                <a:hlinkClick r:id="rId4"/>
              </a:rPr>
              <a:t>User Story</a:t>
            </a:r>
            <a:r>
              <a:rPr lang="en-US">
                <a:solidFill>
                  <a:schemeClr val="tx1"/>
                </a:solidFill>
                <a:latin typeface="PT Serif"/>
                <a:ea typeface="PT Serif"/>
              </a:rPr>
              <a:t>: </a:t>
            </a:r>
            <a:r>
              <a:rPr lang="en-US">
                <a:solidFill>
                  <a:schemeClr val="tx1">
                    <a:lumMod val="50000"/>
                    <a:lumOff val="50000"/>
                  </a:schemeClr>
                </a:solidFill>
                <a:latin typeface="PT Serif"/>
                <a:ea typeface="PT Serif"/>
              </a:rPr>
              <a:t>CC: Conduct product discovery through business partner interview(s) to pull insights</a:t>
            </a:r>
            <a:endParaRPr lang="en-US">
              <a:solidFill>
                <a:schemeClr val="tx1">
                  <a:lumMod val="50000"/>
                  <a:lumOff val="50000"/>
                </a:schemeClr>
              </a:solidFill>
              <a:ea typeface="PT Serif"/>
            </a:endParaRPr>
          </a:p>
          <a:p>
            <a:pPr>
              <a:lnSpc>
                <a:spcPct val="114999"/>
              </a:lnSpc>
              <a:buSzPts val="1400"/>
            </a:pPr>
            <a:endParaRPr lang="en-US">
              <a:solidFill>
                <a:schemeClr val="tx1">
                  <a:lumMod val="50000"/>
                  <a:lumOff val="50000"/>
                </a:schemeClr>
              </a:solidFill>
              <a:latin typeface="PT Serif"/>
              <a:ea typeface="PT Serif"/>
              <a:cs typeface="PT Serif"/>
            </a:endParaRPr>
          </a:p>
        </p:txBody>
      </p:sp>
      <p:grpSp>
        <p:nvGrpSpPr>
          <p:cNvPr id="6" name="Google Shape;602;p14">
            <a:extLst>
              <a:ext uri="{FF2B5EF4-FFF2-40B4-BE49-F238E27FC236}">
                <a16:creationId xmlns:a16="http://schemas.microsoft.com/office/drawing/2014/main" id="{E77083C8-F76C-4F07-B275-7CDA0DAD89E4}"/>
              </a:ext>
            </a:extLst>
          </p:cNvPr>
          <p:cNvGrpSpPr/>
          <p:nvPr/>
        </p:nvGrpSpPr>
        <p:grpSpPr>
          <a:xfrm>
            <a:off x="410431" y="309109"/>
            <a:ext cx="5150524" cy="369094"/>
            <a:chOff x="410431" y="309109"/>
            <a:chExt cx="5150524" cy="369094"/>
          </a:xfrm>
        </p:grpSpPr>
        <p:sp>
          <p:nvSpPr>
            <p:cNvPr id="7" name="Google Shape;603;p14">
              <a:extLst>
                <a:ext uri="{FF2B5EF4-FFF2-40B4-BE49-F238E27FC236}">
                  <a16:creationId xmlns:a16="http://schemas.microsoft.com/office/drawing/2014/main" id="{8D8EC8C6-E4D1-4DBB-983D-FE47EF3371A4}"/>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8" name="Google Shape;604;p14">
              <a:extLst>
                <a:ext uri="{FF2B5EF4-FFF2-40B4-BE49-F238E27FC236}">
                  <a16:creationId xmlns:a16="http://schemas.microsoft.com/office/drawing/2014/main" id="{0C428FE0-CEA6-4B06-818A-B15A33773397}"/>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11" name="Google Shape;606;p14">
            <a:extLst>
              <a:ext uri="{FF2B5EF4-FFF2-40B4-BE49-F238E27FC236}">
                <a16:creationId xmlns:a16="http://schemas.microsoft.com/office/drawing/2014/main" id="{C1418990-22FB-4D1F-EAB1-69EB1F676AC0}"/>
              </a:ext>
            </a:extLst>
          </p:cNvPr>
          <p:cNvSpPr txBox="1">
            <a:spLocks noGrp="1"/>
          </p:cNvSpPr>
          <p:nvPr/>
        </p:nvSpPr>
        <p:spPr>
          <a:xfrm>
            <a:off x="318568" y="1955370"/>
            <a:ext cx="4188230" cy="652058"/>
          </a:xfrm>
          <a:prstGeom prst="rect">
            <a:avLst/>
          </a:prstGeom>
          <a:noFill/>
          <a:ln>
            <a:noFill/>
          </a:ln>
        </p:spPr>
        <p:txBody>
          <a:bodyPr spcFirstLastPara="1" wrap="square" lIns="91425" tIns="45700" rIns="91425" bIns="45700" anchor="t" anchorCtr="0">
            <a:normAutofit fontScale="92500"/>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lnSpc>
                <a:spcPct val="120000"/>
              </a:lnSpc>
              <a:buNone/>
            </a:pPr>
            <a:r>
              <a:rPr lang="en-US" sz="1200"/>
              <a:t>Daniel T (Taliaferro, Trent D.): </a:t>
            </a:r>
            <a:r>
              <a:rPr lang="en-US" sz="1200" i="1"/>
              <a:t>"You've chosen one of the most integrated and complicated programs within health to look at."</a:t>
            </a:r>
            <a:endParaRPr lang="en-US" i="1"/>
          </a:p>
          <a:p>
            <a:pPr marL="0" indent="0">
              <a:lnSpc>
                <a:spcPct val="120000"/>
              </a:lnSpc>
              <a:buNone/>
            </a:pPr>
            <a:endParaRPr lang="en-US" sz="1200"/>
          </a:p>
        </p:txBody>
      </p:sp>
      <p:sp>
        <p:nvSpPr>
          <p:cNvPr id="12" name="Google Shape;641;p16">
            <a:extLst>
              <a:ext uri="{FF2B5EF4-FFF2-40B4-BE49-F238E27FC236}">
                <a16:creationId xmlns:a16="http://schemas.microsoft.com/office/drawing/2014/main" id="{85D5939B-C636-4551-B695-13CF3D96E08C}"/>
              </a:ext>
            </a:extLst>
          </p:cNvPr>
          <p:cNvSpPr txBox="1"/>
          <p:nvPr/>
        </p:nvSpPr>
        <p:spPr>
          <a:xfrm>
            <a:off x="8425546" y="6109251"/>
            <a:ext cx="3445011" cy="276959"/>
          </a:xfrm>
          <a:prstGeom prst="rect">
            <a:avLst/>
          </a:prstGeom>
          <a:noFill/>
          <a:ln>
            <a:noFill/>
          </a:ln>
        </p:spPr>
        <p:txBody>
          <a:bodyPr spcFirstLastPara="1" wrap="square" lIns="91425" tIns="45700" rIns="91425" bIns="45700" anchor="t" anchorCtr="0">
            <a:spAutoFit/>
          </a:bodyPr>
          <a:lstStyle/>
          <a:p>
            <a:pPr lvl="1" algn="r"/>
            <a:r>
              <a:rPr lang="en-US" sz="1200">
                <a:latin typeface="Source Sans Pro"/>
                <a:ea typeface="Source Sans Pro"/>
                <a:hlinkClick r:id="rId5"/>
              </a:rPr>
              <a:t>Mural</a:t>
            </a:r>
            <a:endParaRPr lang="en-US"/>
          </a:p>
        </p:txBody>
      </p:sp>
      <p:sp>
        <p:nvSpPr>
          <p:cNvPr id="10" name="Google Shape;337;p6">
            <a:extLst>
              <a:ext uri="{FF2B5EF4-FFF2-40B4-BE49-F238E27FC236}">
                <a16:creationId xmlns:a16="http://schemas.microsoft.com/office/drawing/2014/main" id="{1F441183-42F9-8DED-0F26-2ADE8FD64C41}"/>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05 Sprint 5 Demo</a:t>
            </a:r>
            <a:endParaRPr sz="1200" b="0" i="0" u="none" strike="noStrike" cap="none">
              <a:solidFill>
                <a:srgbClr val="747C74"/>
              </a:solidFill>
              <a:latin typeface="Calibri"/>
              <a:ea typeface="Calibri"/>
              <a:cs typeface="Calibri"/>
              <a:sym typeface="Calibri"/>
            </a:endParaRPr>
          </a:p>
        </p:txBody>
      </p:sp>
      <p:sp>
        <p:nvSpPr>
          <p:cNvPr id="20" name="Google Shape;264;p4">
            <a:extLst>
              <a:ext uri="{FF2B5EF4-FFF2-40B4-BE49-F238E27FC236}">
                <a16:creationId xmlns:a16="http://schemas.microsoft.com/office/drawing/2014/main" id="{A58EAE1F-F0F4-469B-9399-E85D31E11982}"/>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algn="r"/>
            <a:r>
              <a:rPr lang="en-US" sz="1200">
                <a:solidFill>
                  <a:srgbClr val="747C74"/>
                </a:solidFill>
                <a:latin typeface="Source Sans Pro"/>
                <a:ea typeface="Source Sans Pro"/>
                <a:sym typeface="Source Sans Pro"/>
              </a:rPr>
              <a:t>Community Care</a:t>
            </a:r>
            <a:endParaRPr lang="en-US"/>
          </a:p>
        </p:txBody>
      </p:sp>
    </p:spTree>
    <p:extLst>
      <p:ext uri="{BB962C8B-B14F-4D97-AF65-F5344CB8AC3E}">
        <p14:creationId xmlns:p14="http://schemas.microsoft.com/office/powerpoint/2010/main" val="31170508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52A157-2CB8-6DCB-8D3B-00713BF25DCA}"/>
              </a:ext>
            </a:extLst>
          </p:cNvPr>
          <p:cNvSpPr>
            <a:spLocks noGrp="1"/>
          </p:cNvSpPr>
          <p:nvPr>
            <p:ph type="title"/>
          </p:nvPr>
        </p:nvSpPr>
        <p:spPr>
          <a:xfrm>
            <a:off x="320246" y="721837"/>
            <a:ext cx="11353800" cy="746983"/>
          </a:xfrm>
        </p:spPr>
        <p:txBody>
          <a:bodyPr>
            <a:normAutofit fontScale="90000"/>
          </a:bodyPr>
          <a:lstStyle/>
          <a:p>
            <a:r>
              <a:rPr lang="en-US"/>
              <a:t>We are conducting technical discovery to get a baseline understanding of systems involved in community care</a:t>
            </a:r>
          </a:p>
        </p:txBody>
      </p:sp>
      <p:sp>
        <p:nvSpPr>
          <p:cNvPr id="3" name="Text Placeholder 2">
            <a:extLst>
              <a:ext uri="{FF2B5EF4-FFF2-40B4-BE49-F238E27FC236}">
                <a16:creationId xmlns:a16="http://schemas.microsoft.com/office/drawing/2014/main" id="{346B9D98-5C00-250F-2E85-76FD3A920D22}"/>
              </a:ext>
            </a:extLst>
          </p:cNvPr>
          <p:cNvSpPr>
            <a:spLocks noGrp="1"/>
          </p:cNvSpPr>
          <p:nvPr>
            <p:ph type="body" idx="1"/>
          </p:nvPr>
        </p:nvSpPr>
        <p:spPr>
          <a:xfrm>
            <a:off x="239749" y="3252885"/>
            <a:ext cx="11353800" cy="2765216"/>
          </a:xfrm>
        </p:spPr>
        <p:txBody>
          <a:bodyPr>
            <a:normAutofit fontScale="85000" lnSpcReduction="20000"/>
          </a:bodyPr>
          <a:lstStyle/>
          <a:p>
            <a:r>
              <a:rPr lang="en-US"/>
              <a:t>CC Eligibility API</a:t>
            </a:r>
          </a:p>
          <a:p>
            <a:pPr lvl="1"/>
            <a:r>
              <a:rPr lang="en-US"/>
              <a:t> Drive times only</a:t>
            </a:r>
          </a:p>
          <a:p>
            <a:pPr lvl="1"/>
            <a:r>
              <a:rPr lang="en-US"/>
              <a:t> </a:t>
            </a:r>
            <a:r>
              <a:rPr lang="en-US" strike="sngStrike"/>
              <a:t>Appointment wait times</a:t>
            </a:r>
          </a:p>
          <a:p>
            <a:pPr lvl="1"/>
            <a:r>
              <a:rPr lang="en-US"/>
              <a:t> </a:t>
            </a:r>
            <a:r>
              <a:rPr lang="en-US" strike="sngStrike"/>
              <a:t>Best Medical Interest</a:t>
            </a:r>
          </a:p>
          <a:p>
            <a:pPr lvl="1"/>
            <a:r>
              <a:rPr lang="en-US"/>
              <a:t> </a:t>
            </a:r>
            <a:r>
              <a:rPr lang="en-US" strike="sngStrike"/>
              <a:t>Quality Standards</a:t>
            </a:r>
          </a:p>
          <a:p>
            <a:pPr indent="-342900"/>
            <a:r>
              <a:rPr lang="en-US"/>
              <a:t>Need to confirm other related APIs</a:t>
            </a:r>
          </a:p>
          <a:p>
            <a:pPr indent="-342900"/>
            <a:r>
              <a:rPr lang="en-US"/>
              <a:t>Health Apartment data sources used</a:t>
            </a:r>
          </a:p>
          <a:p>
            <a:pPr indent="-342900"/>
            <a:r>
              <a:rPr lang="en-US"/>
              <a:t>Health Apartment Features List</a:t>
            </a:r>
          </a:p>
          <a:p>
            <a:pPr indent="-342900"/>
            <a:r>
              <a:rPr lang="en-US"/>
              <a:t>Next Steps:</a:t>
            </a:r>
          </a:p>
          <a:p>
            <a:pPr lvl="1" indent="-342900"/>
            <a:r>
              <a:rPr lang="en-US"/>
              <a:t>George Brittingham: Overview of CC APIs &amp; Architecture</a:t>
            </a:r>
          </a:p>
          <a:p>
            <a:pPr indent="-342900"/>
            <a:endParaRPr lang="en-US"/>
          </a:p>
        </p:txBody>
      </p:sp>
      <p:sp>
        <p:nvSpPr>
          <p:cNvPr id="4" name="Slide Number Placeholder 3">
            <a:extLst>
              <a:ext uri="{FF2B5EF4-FFF2-40B4-BE49-F238E27FC236}">
                <a16:creationId xmlns:a16="http://schemas.microsoft.com/office/drawing/2014/main" id="{EF30D916-BF44-FCC1-0C2B-6AE80D37417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t>22</a:t>
            </a:fld>
            <a:endParaRPr lang="en-US"/>
          </a:p>
        </p:txBody>
      </p:sp>
      <p:sp>
        <p:nvSpPr>
          <p:cNvPr id="5" name="Google Shape;605;p14">
            <a:extLst>
              <a:ext uri="{FF2B5EF4-FFF2-40B4-BE49-F238E27FC236}">
                <a16:creationId xmlns:a16="http://schemas.microsoft.com/office/drawing/2014/main" id="{36D64229-262E-4A6E-9C18-00F422DCB439}"/>
              </a:ext>
            </a:extLst>
          </p:cNvPr>
          <p:cNvSpPr txBox="1"/>
          <p:nvPr/>
        </p:nvSpPr>
        <p:spPr>
          <a:xfrm>
            <a:off x="419176" y="1926807"/>
            <a:ext cx="6372149" cy="1238801"/>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hlinkClick r:id="rId2"/>
              </a:rPr>
              <a:t>User Story</a:t>
            </a:r>
            <a:r>
              <a:rPr lang="en-US" b="0" i="0" strike="noStrike" cap="none">
                <a:solidFill>
                  <a:schemeClr val="tx1"/>
                </a:solidFill>
                <a:latin typeface="PT Serif"/>
                <a:ea typeface="PT Serif"/>
                <a:cs typeface="PT Serif"/>
                <a:sym typeface="PT Serif"/>
              </a:rPr>
              <a:t>: </a:t>
            </a:r>
            <a:r>
              <a:rPr lang="en-US" b="0" i="0" strike="noStrike" cap="none">
                <a:solidFill>
                  <a:schemeClr val="tx1">
                    <a:lumMod val="50000"/>
                    <a:lumOff val="50000"/>
                  </a:schemeClr>
                </a:solidFill>
                <a:latin typeface="PT Serif"/>
                <a:ea typeface="PT Serif"/>
                <a:cs typeface="PT Serif"/>
                <a:sym typeface="PT Serif"/>
              </a:rPr>
              <a:t>CC: Conduct </a:t>
            </a:r>
            <a:r>
              <a:rPr lang="en-US">
                <a:solidFill>
                  <a:schemeClr val="tx1">
                    <a:lumMod val="50000"/>
                    <a:lumOff val="50000"/>
                  </a:schemeClr>
                </a:solidFill>
                <a:latin typeface="PT Serif"/>
                <a:ea typeface="PT Serif"/>
                <a:cs typeface="PT Serif"/>
                <a:sym typeface="PT Serif"/>
              </a:rPr>
              <a:t>initial </a:t>
            </a:r>
            <a:r>
              <a:rPr lang="en-US" b="0" i="0" strike="noStrike" cap="none">
                <a:solidFill>
                  <a:schemeClr val="tx1">
                    <a:lumMod val="50000"/>
                    <a:lumOff val="50000"/>
                  </a:schemeClr>
                </a:solidFill>
                <a:latin typeface="PT Serif"/>
                <a:ea typeface="PT Serif"/>
                <a:cs typeface="PT Serif"/>
                <a:sym typeface="PT Serif"/>
              </a:rPr>
              <a:t>product discovery through review of current MHV work products</a:t>
            </a:r>
            <a:endParaRPr lang="en-US">
              <a:solidFill>
                <a:schemeClr val="tx1">
                  <a:lumMod val="50000"/>
                  <a:lumOff val="50000"/>
                </a:schemeClr>
              </a:solidFill>
            </a:endParaRPr>
          </a:p>
          <a:p>
            <a:pPr>
              <a:lnSpc>
                <a:spcPct val="115000"/>
              </a:lnSpc>
              <a:buSzPts val="1400"/>
            </a:pPr>
            <a:r>
              <a:rPr lang="en-US" b="0" i="0" strike="noStrike" cap="none">
                <a:solidFill>
                  <a:schemeClr val="tx1"/>
                </a:solidFill>
                <a:latin typeface="PT Serif"/>
                <a:ea typeface="PT Serif"/>
                <a:cs typeface="PT Serif"/>
                <a:sym typeface="PT Serif"/>
                <a:hlinkClick r:id="rId3"/>
              </a:rPr>
              <a:t>User Story</a:t>
            </a:r>
            <a:r>
              <a:rPr lang="en-US" b="0" i="0" strike="noStrike" cap="none">
                <a:solidFill>
                  <a:schemeClr val="tx1"/>
                </a:solidFill>
                <a:latin typeface="PT Serif"/>
                <a:ea typeface="PT Serif"/>
                <a:cs typeface="PT Serif"/>
                <a:sym typeface="PT Serif"/>
              </a:rPr>
              <a:t>: </a:t>
            </a:r>
            <a:r>
              <a:rPr lang="en-US" b="0" i="0" strike="noStrike" cap="none">
                <a:solidFill>
                  <a:schemeClr val="tx1">
                    <a:lumMod val="50000"/>
                    <a:lumOff val="50000"/>
                  </a:schemeClr>
                </a:solidFill>
                <a:latin typeface="PT Serif"/>
                <a:ea typeface="PT Serif"/>
                <a:cs typeface="PT Serif"/>
                <a:sym typeface="PT Serif"/>
              </a:rPr>
              <a:t>CC: Conduct </a:t>
            </a:r>
            <a:r>
              <a:rPr lang="en-US">
                <a:solidFill>
                  <a:schemeClr val="tx1">
                    <a:lumMod val="50000"/>
                    <a:lumOff val="50000"/>
                  </a:schemeClr>
                </a:solidFill>
                <a:latin typeface="PT Serif"/>
                <a:ea typeface="PT Serif"/>
                <a:cs typeface="PT Serif"/>
                <a:sym typeface="PT Serif"/>
              </a:rPr>
              <a:t>initial discovery</a:t>
            </a:r>
            <a:r>
              <a:rPr lang="en-US" b="0" i="0" strike="noStrike" cap="none">
                <a:solidFill>
                  <a:schemeClr val="tx1">
                    <a:lumMod val="50000"/>
                    <a:lumOff val="50000"/>
                  </a:schemeClr>
                </a:solidFill>
                <a:latin typeface="PT Serif"/>
                <a:ea typeface="PT Serif"/>
                <a:cs typeface="PT Serif"/>
                <a:sym typeface="PT Serif"/>
              </a:rPr>
              <a:t> into APIs</a:t>
            </a:r>
            <a:endParaRPr lang="en-US" b="0" i="0" strike="noStrike" cap="none">
              <a:solidFill>
                <a:schemeClr val="tx1">
                  <a:lumMod val="50000"/>
                  <a:lumOff val="50000"/>
                </a:schemeClr>
              </a:solidFill>
              <a:latin typeface="PT Serif"/>
              <a:ea typeface="PT Serif"/>
              <a:cs typeface="PT Serif"/>
            </a:endParaRPr>
          </a:p>
          <a:p>
            <a:pPr>
              <a:lnSpc>
                <a:spcPct val="115000"/>
              </a:lnSpc>
              <a:buSzPts val="1400"/>
            </a:pPr>
            <a:r>
              <a:rPr lang="en-US" b="0" i="0" strike="noStrike" cap="none">
                <a:solidFill>
                  <a:schemeClr val="tx1"/>
                </a:solidFill>
                <a:latin typeface="PT Serif"/>
                <a:ea typeface="PT Serif"/>
                <a:cs typeface="PT Serif"/>
                <a:sym typeface="PT Serif"/>
                <a:hlinkClick r:id="rId4"/>
              </a:rPr>
              <a:t>User Story</a:t>
            </a:r>
            <a:r>
              <a:rPr lang="en-US" b="0" i="0" strike="noStrike" cap="none">
                <a:solidFill>
                  <a:schemeClr val="tx1"/>
                </a:solidFill>
                <a:latin typeface="PT Serif"/>
                <a:ea typeface="PT Serif"/>
                <a:cs typeface="PT Serif"/>
                <a:sym typeface="PT Serif"/>
              </a:rPr>
              <a:t>: </a:t>
            </a:r>
            <a:r>
              <a:rPr lang="en-US" b="0" i="0" strike="noStrike" cap="none">
                <a:solidFill>
                  <a:schemeClr val="tx1">
                    <a:lumMod val="50000"/>
                    <a:lumOff val="50000"/>
                  </a:schemeClr>
                </a:solidFill>
                <a:latin typeface="PT Serif"/>
                <a:ea typeface="PT Serif"/>
                <a:cs typeface="PT Serif"/>
                <a:sym typeface="PT Serif"/>
              </a:rPr>
              <a:t>CC: Conduct </a:t>
            </a:r>
            <a:r>
              <a:rPr lang="en-US">
                <a:solidFill>
                  <a:schemeClr val="tx1">
                    <a:lumMod val="50000"/>
                    <a:lumOff val="50000"/>
                  </a:schemeClr>
                </a:solidFill>
                <a:latin typeface="PT Serif"/>
                <a:ea typeface="PT Serif"/>
                <a:cs typeface="PT Serif"/>
                <a:sym typeface="PT Serif"/>
              </a:rPr>
              <a:t>initial </a:t>
            </a:r>
            <a:r>
              <a:rPr lang="en-US" b="0" i="0" strike="noStrike" cap="none">
                <a:solidFill>
                  <a:schemeClr val="tx1">
                    <a:lumMod val="50000"/>
                    <a:lumOff val="50000"/>
                  </a:schemeClr>
                </a:solidFill>
                <a:latin typeface="PT Serif"/>
                <a:ea typeface="PT Serif"/>
                <a:cs typeface="PT Serif"/>
                <a:sym typeface="PT Serif"/>
              </a:rPr>
              <a:t>discovery into data sources used in the health apartment</a:t>
            </a:r>
            <a:endParaRPr lang="en-US" b="0" i="0" strike="noStrike" cap="none">
              <a:solidFill>
                <a:schemeClr val="tx1">
                  <a:lumMod val="50000"/>
                  <a:lumOff val="50000"/>
                </a:schemeClr>
              </a:solidFill>
              <a:latin typeface="PT Serif"/>
              <a:ea typeface="PT Serif"/>
              <a:cs typeface="PT Serif"/>
            </a:endParaRPr>
          </a:p>
        </p:txBody>
      </p:sp>
      <p:grpSp>
        <p:nvGrpSpPr>
          <p:cNvPr id="6" name="Google Shape;602;p14">
            <a:extLst>
              <a:ext uri="{FF2B5EF4-FFF2-40B4-BE49-F238E27FC236}">
                <a16:creationId xmlns:a16="http://schemas.microsoft.com/office/drawing/2014/main" id="{E77083C8-F76C-4F07-B275-7CDA0DAD89E4}"/>
              </a:ext>
            </a:extLst>
          </p:cNvPr>
          <p:cNvGrpSpPr/>
          <p:nvPr/>
        </p:nvGrpSpPr>
        <p:grpSpPr>
          <a:xfrm>
            <a:off x="410431" y="309109"/>
            <a:ext cx="5150524" cy="369094"/>
            <a:chOff x="410431" y="309109"/>
            <a:chExt cx="5150524" cy="369094"/>
          </a:xfrm>
        </p:grpSpPr>
        <p:sp>
          <p:nvSpPr>
            <p:cNvPr id="7" name="Google Shape;603;p14">
              <a:extLst>
                <a:ext uri="{FF2B5EF4-FFF2-40B4-BE49-F238E27FC236}">
                  <a16:creationId xmlns:a16="http://schemas.microsoft.com/office/drawing/2014/main" id="{8D8EC8C6-E4D1-4DBB-983D-FE47EF3371A4}"/>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2</a:t>
              </a:r>
              <a:endParaRPr lang="en-US" sz="1200" b="0" i="0" u="none" strike="noStrike" cap="none">
                <a:solidFill>
                  <a:srgbClr val="FFFFFF"/>
                </a:solidFill>
                <a:latin typeface="PT Serif"/>
                <a:ea typeface="Arial"/>
                <a:cs typeface="Arial"/>
              </a:endParaRPr>
            </a:p>
          </p:txBody>
        </p:sp>
        <p:sp>
          <p:nvSpPr>
            <p:cNvPr id="8" name="Google Shape;604;p14">
              <a:extLst>
                <a:ext uri="{FF2B5EF4-FFF2-40B4-BE49-F238E27FC236}">
                  <a16:creationId xmlns:a16="http://schemas.microsoft.com/office/drawing/2014/main" id="{0C428FE0-CEA6-4B06-818A-B15A33773397}"/>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a:buSzPts val="1400"/>
              </a:pPr>
              <a:r>
                <a:rPr lang="en-US">
                  <a:solidFill>
                    <a:srgbClr val="0071BF"/>
                  </a:solidFill>
                  <a:latin typeface="Source Sans Pro"/>
                  <a:ea typeface="Source Sans Pro"/>
                </a:rPr>
                <a:t>PRODUCT + TECH</a:t>
              </a:r>
              <a:endParaRPr lang="en-US" sz="1400" b="0" i="0" u="none" strike="noStrike" cap="none">
                <a:solidFill>
                  <a:srgbClr val="0071BF"/>
                </a:solidFill>
                <a:latin typeface="Source Sans Pro"/>
                <a:ea typeface="Source Sans Pro"/>
              </a:endParaRPr>
            </a:p>
          </p:txBody>
        </p:sp>
      </p:grpSp>
      <p:pic>
        <p:nvPicPr>
          <p:cNvPr id="14" name="Picture 14" descr="Diagram, schematic&#10;&#10;Description automatically generated">
            <a:extLst>
              <a:ext uri="{FF2B5EF4-FFF2-40B4-BE49-F238E27FC236}">
                <a16:creationId xmlns:a16="http://schemas.microsoft.com/office/drawing/2014/main" id="{CEC8603A-E559-D88F-8BB6-20BE147D64A6}"/>
              </a:ext>
            </a:extLst>
          </p:cNvPr>
          <p:cNvPicPr>
            <a:picLocks noChangeAspect="1"/>
          </p:cNvPicPr>
          <p:nvPr/>
        </p:nvPicPr>
        <p:blipFill>
          <a:blip r:embed="rId5"/>
          <a:stretch>
            <a:fillRect/>
          </a:stretch>
        </p:blipFill>
        <p:spPr>
          <a:xfrm>
            <a:off x="7078144" y="1833423"/>
            <a:ext cx="4281577" cy="4275828"/>
          </a:xfrm>
          <a:prstGeom prst="rect">
            <a:avLst/>
          </a:prstGeom>
        </p:spPr>
      </p:pic>
      <p:sp>
        <p:nvSpPr>
          <p:cNvPr id="15" name="Google Shape;641;p16">
            <a:extLst>
              <a:ext uri="{FF2B5EF4-FFF2-40B4-BE49-F238E27FC236}">
                <a16:creationId xmlns:a16="http://schemas.microsoft.com/office/drawing/2014/main" id="{8234A49B-42C8-4AB6-91D6-8149E021948F}"/>
              </a:ext>
            </a:extLst>
          </p:cNvPr>
          <p:cNvSpPr txBox="1"/>
          <p:nvPr/>
        </p:nvSpPr>
        <p:spPr>
          <a:xfrm>
            <a:off x="8425546" y="6109251"/>
            <a:ext cx="3445011" cy="276959"/>
          </a:xfrm>
          <a:prstGeom prst="rect">
            <a:avLst/>
          </a:prstGeom>
          <a:noFill/>
          <a:ln>
            <a:noFill/>
          </a:ln>
        </p:spPr>
        <p:txBody>
          <a:bodyPr spcFirstLastPara="1" wrap="square" lIns="91425" tIns="45700" rIns="91425" bIns="45700" anchor="t" anchorCtr="0">
            <a:spAutoFit/>
          </a:bodyPr>
          <a:lstStyle/>
          <a:p>
            <a:pPr lvl="1" algn="r">
              <a:buSzPts val="1400"/>
            </a:pPr>
            <a:r>
              <a:rPr lang="en-US" sz="1200">
                <a:latin typeface="Source Sans Pro"/>
                <a:ea typeface="Source Sans Pro"/>
                <a:hlinkClick r:id="rId6"/>
              </a:rPr>
              <a:t>CC IA</a:t>
            </a:r>
            <a:endParaRPr lang="en-US" sz="1200" b="0" i="0" strike="noStrike" cap="none">
              <a:solidFill>
                <a:srgbClr val="000000"/>
              </a:solidFill>
              <a:latin typeface="Source Sans Pro"/>
              <a:ea typeface="Source Sans Pro"/>
              <a:sym typeface="Arial"/>
            </a:endParaRPr>
          </a:p>
        </p:txBody>
      </p:sp>
      <p:sp>
        <p:nvSpPr>
          <p:cNvPr id="9" name="Google Shape;337;p6">
            <a:extLst>
              <a:ext uri="{FF2B5EF4-FFF2-40B4-BE49-F238E27FC236}">
                <a16:creationId xmlns:a16="http://schemas.microsoft.com/office/drawing/2014/main" id="{1673559D-641B-CEF7-656B-BA67BB200460}"/>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05 Sprint 5 Demo</a:t>
            </a:r>
            <a:endParaRPr sz="1200" b="0" i="0" u="none" strike="noStrike" cap="none">
              <a:solidFill>
                <a:srgbClr val="747C74"/>
              </a:solidFill>
              <a:latin typeface="Calibri"/>
              <a:ea typeface="Calibri"/>
              <a:cs typeface="Calibri"/>
              <a:sym typeface="Calibri"/>
            </a:endParaRPr>
          </a:p>
        </p:txBody>
      </p:sp>
      <p:sp>
        <p:nvSpPr>
          <p:cNvPr id="16" name="Google Shape;264;p4">
            <a:extLst>
              <a:ext uri="{FF2B5EF4-FFF2-40B4-BE49-F238E27FC236}">
                <a16:creationId xmlns:a16="http://schemas.microsoft.com/office/drawing/2014/main" id="{B45C34C9-EDCA-4783-9C15-8952930EA831}"/>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algn="r"/>
            <a:r>
              <a:rPr lang="en-US" sz="1200">
                <a:solidFill>
                  <a:srgbClr val="747C74"/>
                </a:solidFill>
                <a:latin typeface="Source Sans Pro"/>
                <a:ea typeface="Source Sans Pro"/>
                <a:sym typeface="Source Sans Pro"/>
              </a:rPr>
              <a:t>Community Care</a:t>
            </a:r>
            <a:endParaRPr lang="en-US"/>
          </a:p>
        </p:txBody>
      </p:sp>
    </p:spTree>
    <p:extLst>
      <p:ext uri="{BB962C8B-B14F-4D97-AF65-F5344CB8AC3E}">
        <p14:creationId xmlns:p14="http://schemas.microsoft.com/office/powerpoint/2010/main" val="6046542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59"/>
        <p:cNvGrpSpPr/>
        <p:nvPr/>
      </p:nvGrpSpPr>
      <p:grpSpPr>
        <a:xfrm>
          <a:off x="0" y="0"/>
          <a:ext cx="0" cy="0"/>
          <a:chOff x="0" y="0"/>
          <a:chExt cx="0" cy="0"/>
        </a:xfrm>
      </p:grpSpPr>
      <p:sp>
        <p:nvSpPr>
          <p:cNvPr id="460" name="Google Shape;460;p8"/>
          <p:cNvSpPr txBox="1">
            <a:spLocks noGrp="1"/>
          </p:cNvSpPr>
          <p:nvPr>
            <p:ph type="ctrTitle"/>
          </p:nvPr>
        </p:nvSpPr>
        <p:spPr>
          <a:xfrm>
            <a:off x="248880" y="2938176"/>
            <a:ext cx="7261656" cy="1632577"/>
          </a:xfrm>
          <a:prstGeom prst="rect">
            <a:avLst/>
          </a:prstGeom>
          <a:noFill/>
          <a:ln>
            <a:noFill/>
          </a:ln>
        </p:spPr>
        <p:txBody>
          <a:bodyPr spcFirstLastPara="1" wrap="square" lIns="91425" tIns="45700" rIns="91425" bIns="45700" anchor="t" anchorCtr="0">
            <a:noAutofit/>
          </a:bodyPr>
          <a:lstStyle/>
          <a:p>
            <a:r>
              <a:rPr lang="en-US"/>
              <a:t>Sprint Deliverables</a:t>
            </a:r>
          </a:p>
        </p:txBody>
      </p:sp>
      <p:sp>
        <p:nvSpPr>
          <p:cNvPr id="461" name="Google Shape;461;p8"/>
          <p:cNvSpPr txBox="1">
            <a:spLocks noGrp="1"/>
          </p:cNvSpPr>
          <p:nvPr>
            <p:ph type="body" idx="1"/>
          </p:nvPr>
        </p:nvSpPr>
        <p:spPr>
          <a:xfrm>
            <a:off x="341868" y="2523777"/>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a:t>SPRINT 5 DEMO</a:t>
            </a:r>
            <a:endParaRPr/>
          </a:p>
        </p:txBody>
      </p:sp>
      <p:sp>
        <p:nvSpPr>
          <p:cNvPr id="462" name="Google Shape;462;p8"/>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23</a:t>
            </a:fld>
            <a:endParaRPr/>
          </a:p>
        </p:txBody>
      </p:sp>
      <p:sp>
        <p:nvSpPr>
          <p:cNvPr id="2" name="Google Shape;265;p4">
            <a:extLst>
              <a:ext uri="{FF2B5EF4-FFF2-40B4-BE49-F238E27FC236}">
                <a16:creationId xmlns:a16="http://schemas.microsoft.com/office/drawing/2014/main" id="{820A4734-2A64-812C-44F5-9C35D9905FB2}"/>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05 Sprint 5 Demo</a:t>
            </a:r>
            <a:endParaRPr sz="18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11012877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9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9F7FD-B9B1-4B3D-82B8-0B1D2490A086}"/>
              </a:ext>
            </a:extLst>
          </p:cNvPr>
          <p:cNvGraphicFramePr>
            <a:graphicFrameLocks noChangeAspect="1"/>
          </p:cNvGraphicFramePr>
          <p:nvPr>
            <p:custDataLst>
              <p:tags r:id="rId2"/>
            </p:custDataLst>
            <p:extLst>
              <p:ext uri="{D42A27DB-BD31-4B8C-83A1-F6EECF244321}">
                <p14:modId xmlns:p14="http://schemas.microsoft.com/office/powerpoint/2010/main" val="1799819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5"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E339F7FD-B9B1-4B3D-82B8-0B1D2490A0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92" name="Google Shape;692;p20"/>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r>
              <a:rPr lang="en-US" sz="3200"/>
              <a:t>Sprint 5 Deliverables 1095-B (1 of 4)</a:t>
            </a:r>
          </a:p>
        </p:txBody>
      </p:sp>
      <p:sp>
        <p:nvSpPr>
          <p:cNvPr id="693" name="Google Shape;693;p20"/>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4</a:t>
            </a:fld>
            <a:endParaRPr>
              <a:latin typeface="Source Sans Pro"/>
              <a:ea typeface="Source Sans Pro"/>
              <a:cs typeface="Source Sans Pro"/>
              <a:sym typeface="Source Sans Pro"/>
            </a:endParaRPr>
          </a:p>
        </p:txBody>
      </p:sp>
      <p:graphicFrame>
        <p:nvGraphicFramePr>
          <p:cNvPr id="694" name="Google Shape;694;p20"/>
          <p:cNvGraphicFramePr/>
          <p:nvPr>
            <p:extLst>
              <p:ext uri="{D42A27DB-BD31-4B8C-83A1-F6EECF244321}">
                <p14:modId xmlns:p14="http://schemas.microsoft.com/office/powerpoint/2010/main" val="621941719"/>
              </p:ext>
            </p:extLst>
          </p:nvPr>
        </p:nvGraphicFramePr>
        <p:xfrm>
          <a:off x="431214" y="1030271"/>
          <a:ext cx="11329571" cy="4177105"/>
        </p:xfrm>
        <a:graphic>
          <a:graphicData uri="http://schemas.openxmlformats.org/drawingml/2006/table">
            <a:tbl>
              <a:tblPr>
                <a:noFill/>
                <a:tableStyleId>{1F4BC13E-62C9-4DB2-9D77-78E559E1D0AC}</a:tableStyleId>
              </a:tblPr>
              <a:tblGrid>
                <a:gridCol w="824272">
                  <a:extLst>
                    <a:ext uri="{9D8B030D-6E8A-4147-A177-3AD203B41FA5}">
                      <a16:colId xmlns:a16="http://schemas.microsoft.com/office/drawing/2014/main" val="20000"/>
                    </a:ext>
                  </a:extLst>
                </a:gridCol>
                <a:gridCol w="4085545">
                  <a:extLst>
                    <a:ext uri="{9D8B030D-6E8A-4147-A177-3AD203B41FA5}">
                      <a16:colId xmlns:a16="http://schemas.microsoft.com/office/drawing/2014/main" val="20001"/>
                    </a:ext>
                  </a:extLst>
                </a:gridCol>
                <a:gridCol w="747202">
                  <a:extLst>
                    <a:ext uri="{9D8B030D-6E8A-4147-A177-3AD203B41FA5}">
                      <a16:colId xmlns:a16="http://schemas.microsoft.com/office/drawing/2014/main" val="20002"/>
                    </a:ext>
                  </a:extLst>
                </a:gridCol>
                <a:gridCol w="776795">
                  <a:extLst>
                    <a:ext uri="{9D8B030D-6E8A-4147-A177-3AD203B41FA5}">
                      <a16:colId xmlns:a16="http://schemas.microsoft.com/office/drawing/2014/main" val="20003"/>
                    </a:ext>
                  </a:extLst>
                </a:gridCol>
                <a:gridCol w="1997474">
                  <a:extLst>
                    <a:ext uri="{9D8B030D-6E8A-4147-A177-3AD203B41FA5}">
                      <a16:colId xmlns:a16="http://schemas.microsoft.com/office/drawing/2014/main" val="20004"/>
                    </a:ext>
                  </a:extLst>
                </a:gridCol>
                <a:gridCol w="1538110">
                  <a:extLst>
                    <a:ext uri="{9D8B030D-6E8A-4147-A177-3AD203B41FA5}">
                      <a16:colId xmlns:a16="http://schemas.microsoft.com/office/drawing/2014/main" val="20005"/>
                    </a:ext>
                  </a:extLst>
                </a:gridCol>
                <a:gridCol w="1360173">
                  <a:extLst>
                    <a:ext uri="{9D8B030D-6E8A-4147-A177-3AD203B41FA5}">
                      <a16:colId xmlns:a16="http://schemas.microsoft.com/office/drawing/2014/main" val="20006"/>
                    </a:ext>
                  </a:extLst>
                </a:gridCol>
              </a:tblGrid>
              <a:tr h="362504">
                <a:tc>
                  <a:txBody>
                    <a:bodyPr/>
                    <a:lstStyle/>
                    <a:p>
                      <a:pPr marL="0" marR="0" lvl="0" indent="0" algn="l" rtl="0">
                        <a:spcBef>
                          <a:spcPts val="0"/>
                        </a:spcBef>
                        <a:spcAft>
                          <a:spcPts val="0"/>
                        </a:spcAft>
                        <a:buClr>
                          <a:schemeClr val="accent1"/>
                        </a:buClr>
                        <a:buSzPts val="1100"/>
                        <a:buFont typeface="Source Sans Pro SemiBold"/>
                        <a:buNone/>
                      </a:pPr>
                      <a:r>
                        <a:rPr lang="en-US" sz="1000" u="none" strike="noStrike" cap="none">
                          <a:solidFill>
                            <a:schemeClr val="accent1"/>
                          </a:solidFill>
                          <a:latin typeface="Source Sans Pro SemiBold"/>
                          <a:ea typeface="Source Sans Pro SemiBold"/>
                          <a:cs typeface="Source Sans Pro SemiBold"/>
                          <a:sym typeface="Source Sans Pro SemiBold"/>
                        </a:rPr>
                        <a:t>EPIC</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100"/>
                        <a:buFont typeface="Source Sans Pro SemiBold"/>
                        <a:buNone/>
                      </a:pPr>
                      <a:r>
                        <a:rPr lang="en-US" sz="1000" b="0" i="0" u="none" strike="noStrike" cap="none">
                          <a:solidFill>
                            <a:srgbClr val="022D50"/>
                          </a:solidFill>
                          <a:latin typeface="Source Sans Pro SemiBold"/>
                          <a:ea typeface="Source Sans Pro SemiBold"/>
                          <a:cs typeface="Source Sans Pro SemiBold"/>
                          <a:sym typeface="Source Sans Pro SemiBold"/>
                        </a:rPr>
                        <a:t>STORY</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ESTIMATE</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ASSIGNED</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OUTPUT</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REVIEWED WITH VA-PO</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SPRINT TEAM GOAL COMPLETED?</a:t>
                      </a:r>
                      <a:endParaRPr sz="1000">
                        <a:latin typeface="Source Sans Pro SemiBold"/>
                        <a:ea typeface="Source Sans Pro SemiBold"/>
                        <a:cs typeface="Source Sans Pro SemiBold"/>
                        <a:sym typeface="Source Sans Pro SemiBold"/>
                      </a:endParaRPr>
                    </a:p>
                  </a:txBody>
                  <a:tcPr marL="91450" marR="9145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extLst>
                  <a:ext uri="{0D108BD9-81ED-4DB2-BD59-A6C34878D82A}">
                    <a16:rowId xmlns:a16="http://schemas.microsoft.com/office/drawing/2014/main" val="10000"/>
                  </a:ext>
                </a:extLst>
              </a:tr>
              <a:tr h="503619">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chemeClr val="dk1"/>
                        </a:buClr>
                        <a:buSzPts val="1050"/>
                        <a:buFont typeface="PT Serif"/>
                        <a:buNone/>
                        <a:tabLst/>
                        <a:defRPr/>
                      </a:pPr>
                      <a:r>
                        <a:rPr lang="en-US" sz="1000" b="0" i="0" u="none" strike="noStrike" cap="none">
                          <a:solidFill>
                            <a:schemeClr val="dk1"/>
                          </a:solidFill>
                          <a:latin typeface="Source Sans Pro"/>
                          <a:ea typeface="Source Sans Pro"/>
                          <a:hlinkClick r:id="rId7"/>
                        </a:rPr>
                        <a:t>#39042 Update HEC documents to reflect changes from sitewide</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2</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Carl</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8"/>
                        </a:rPr>
                        <a:t>FAQs</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9"/>
                        </a:rPr>
                        <a:t>User guide</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0"/>
                        </a:rPr>
                        <a:t>Factsheet</a:t>
                      </a:r>
                      <a:endParaRPr lang="en-US" sz="1000" b="0" i="0" u="none" strike="noStrike" cap="none">
                        <a:solidFill>
                          <a:schemeClr val="dk1"/>
                        </a:solidFill>
                        <a:latin typeface="Source Sans Pro"/>
                        <a:ea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2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1"/>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1"/>
                        </a:rPr>
                        <a:t>#38708 Update product guide to reflect changes from sitewide content review</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2</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Carl</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2"/>
                        </a:rPr>
                        <a:t>Product guide (revised)</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2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2"/>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3"/>
                        </a:rPr>
                        <a:t>#38038 Iterate on designs from business owner feedback (round 2)</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1</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Grace</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4"/>
                        </a:rPr>
                        <a:t>Mobile, no 1095-B avail</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5"/>
                        </a:rPr>
                        <a:t>Mobile, success</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6"/>
                        </a:rPr>
                        <a:t>Mobile, tech error in download</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u="none">
                          <a:latin typeface="Source Sans Pro"/>
                          <a:ea typeface="Source Sans Pro"/>
                          <a:hlinkClick r:id="rId17"/>
                        </a:rPr>
                        <a:t>Mobile, unauthenticated</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29/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3"/>
                  </a:ext>
                </a:extLst>
              </a:tr>
              <a:tr h="342741">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8"/>
                        </a:rPr>
                        <a:t>#38902 Transmit final draft of HEC documents to Tarsha</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1</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Carl Jordan</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8"/>
                        </a:rPr>
                        <a:t>FAQs</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9"/>
                        </a:rPr>
                        <a:t>User guide</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0"/>
                        </a:rPr>
                        <a:t>Factsheet</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1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4"/>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9"/>
                        </a:rPr>
                        <a:t>#39275 Update HEC products based on business owner feedback (final version)</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2</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Carl</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8"/>
                        </a:rPr>
                        <a:t>FAQs</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9"/>
                        </a:rPr>
                        <a:t>User guide</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0"/>
                        </a:rPr>
                        <a:t>Factsheet</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4/0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5"/>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20"/>
                        </a:rPr>
                        <a:t>#39172 Create video walk through of final designs for HEC</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2</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Carl James</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21"/>
                        </a:rPr>
                        <a:t>HEC Video presentation</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4/0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6"/>
                  </a:ext>
                </a:extLst>
              </a:tr>
              <a:tr h="362504">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lang="en-US"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22"/>
                        </a:rPr>
                        <a:t>#38392 Collaboration cycle: Contact center review [1095-B]</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0</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Carl Jordan</a:t>
                      </a: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23"/>
                        </a:rPr>
                        <a:t>Product video (revised)</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22"/>
                        </a:rPr>
                        <a:t>Ticket</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4/0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2768401605"/>
                  </a:ext>
                </a:extLst>
              </a:tr>
              <a:tr h="362504">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24"/>
                        </a:rPr>
                        <a:t>#38709 Update call center product video to reflect changes from sitewide content</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2</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Carl</a:t>
                      </a: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23"/>
                        </a:rPr>
                        <a:t>Video</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2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2272322173"/>
                  </a:ext>
                </a:extLst>
              </a:tr>
              <a:tr h="362504">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bg2"/>
                          </a:solidFill>
                          <a:latin typeface="Source Sans Pro"/>
                          <a:ea typeface="Source Sans Pro"/>
                          <a:cs typeface="Source Sans Pro SemiBold"/>
                          <a:sym typeface="Source Sans Pro SemiBold"/>
                          <a:hlinkClick r:id="rId25"/>
                        </a:rPr>
                        <a:t>#39446 Draft email for opt-in notification requirements</a:t>
                      </a:r>
                      <a:endParaRPr lang="en-US" sz="1000" b="0"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3</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Carl</a:t>
                      </a: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u="none">
                          <a:latin typeface="Source Sans Pro"/>
                          <a:ea typeface="Source Sans Pro"/>
                          <a:hlinkClick r:id="rId26"/>
                        </a:rPr>
                        <a:t>Draft, opt-in notification templates</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04/01/22</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89292425"/>
                  </a:ext>
                </a:extLst>
              </a:tr>
            </a:tbl>
          </a:graphicData>
        </a:graphic>
      </p:graphicFrame>
      <p:sp>
        <p:nvSpPr>
          <p:cNvPr id="695" name="Google Shape;695;p20"/>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Source Sans Pro"/>
                <a:sym typeface="Source Sans Pro"/>
              </a:rPr>
              <a:t>Sprint 5 Deliverables</a:t>
            </a:r>
            <a:endParaRPr sz="1800">
              <a:solidFill>
                <a:schemeClr val="dk1"/>
              </a:solidFill>
              <a:latin typeface="Calibri"/>
              <a:ea typeface="Calibri"/>
              <a:cs typeface="Calibri"/>
              <a:sym typeface="Calibri"/>
            </a:endParaRPr>
          </a:p>
        </p:txBody>
      </p:sp>
      <p:sp>
        <p:nvSpPr>
          <p:cNvPr id="4" name="Google Shape;337;p6">
            <a:extLst>
              <a:ext uri="{FF2B5EF4-FFF2-40B4-BE49-F238E27FC236}">
                <a16:creationId xmlns:a16="http://schemas.microsoft.com/office/drawing/2014/main" id="{9AFC4AAF-F922-425A-B866-F5429471114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05 Sprint 5 Demo</a:t>
            </a:r>
            <a:endParaRPr sz="1200" b="0" i="0" u="none" strike="noStrike" cap="none">
              <a:solidFill>
                <a:srgbClr val="747C74"/>
              </a:solidFill>
              <a:latin typeface="Calibri"/>
              <a:ea typeface="Calibri"/>
              <a:cs typeface="Calibri"/>
              <a:sym typeface="Calibri"/>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69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9F7FD-B9B1-4B3D-82B8-0B1D2490A0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3"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E339F7FD-B9B1-4B3D-82B8-0B1D2490A0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92" name="Google Shape;692;p20"/>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r>
              <a:rPr lang="en-US" sz="3200"/>
              <a:t>Sprint 5 Deliverables 1095-B (2 of 4)</a:t>
            </a:r>
          </a:p>
        </p:txBody>
      </p:sp>
      <p:sp>
        <p:nvSpPr>
          <p:cNvPr id="693" name="Google Shape;693;p20"/>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5</a:t>
            </a:fld>
            <a:endParaRPr>
              <a:latin typeface="Source Sans Pro"/>
              <a:ea typeface="Source Sans Pro"/>
              <a:cs typeface="Source Sans Pro"/>
              <a:sym typeface="Source Sans Pro"/>
            </a:endParaRPr>
          </a:p>
        </p:txBody>
      </p:sp>
      <p:graphicFrame>
        <p:nvGraphicFramePr>
          <p:cNvPr id="694" name="Google Shape;694;p20"/>
          <p:cNvGraphicFramePr/>
          <p:nvPr>
            <p:extLst>
              <p:ext uri="{D42A27DB-BD31-4B8C-83A1-F6EECF244321}">
                <p14:modId xmlns:p14="http://schemas.microsoft.com/office/powerpoint/2010/main" val="635228377"/>
              </p:ext>
            </p:extLst>
          </p:nvPr>
        </p:nvGraphicFramePr>
        <p:xfrm>
          <a:off x="431214" y="1030271"/>
          <a:ext cx="11329571" cy="2975134"/>
        </p:xfrm>
        <a:graphic>
          <a:graphicData uri="http://schemas.openxmlformats.org/drawingml/2006/table">
            <a:tbl>
              <a:tblPr>
                <a:noFill/>
                <a:tableStyleId>{1F4BC13E-62C9-4DB2-9D77-78E559E1D0AC}</a:tableStyleId>
              </a:tblPr>
              <a:tblGrid>
                <a:gridCol w="824272">
                  <a:extLst>
                    <a:ext uri="{9D8B030D-6E8A-4147-A177-3AD203B41FA5}">
                      <a16:colId xmlns:a16="http://schemas.microsoft.com/office/drawing/2014/main" val="20000"/>
                    </a:ext>
                  </a:extLst>
                </a:gridCol>
                <a:gridCol w="4085545">
                  <a:extLst>
                    <a:ext uri="{9D8B030D-6E8A-4147-A177-3AD203B41FA5}">
                      <a16:colId xmlns:a16="http://schemas.microsoft.com/office/drawing/2014/main" val="20001"/>
                    </a:ext>
                  </a:extLst>
                </a:gridCol>
                <a:gridCol w="747202">
                  <a:extLst>
                    <a:ext uri="{9D8B030D-6E8A-4147-A177-3AD203B41FA5}">
                      <a16:colId xmlns:a16="http://schemas.microsoft.com/office/drawing/2014/main" val="20002"/>
                    </a:ext>
                  </a:extLst>
                </a:gridCol>
                <a:gridCol w="776795">
                  <a:extLst>
                    <a:ext uri="{9D8B030D-6E8A-4147-A177-3AD203B41FA5}">
                      <a16:colId xmlns:a16="http://schemas.microsoft.com/office/drawing/2014/main" val="20003"/>
                    </a:ext>
                  </a:extLst>
                </a:gridCol>
                <a:gridCol w="1997474">
                  <a:extLst>
                    <a:ext uri="{9D8B030D-6E8A-4147-A177-3AD203B41FA5}">
                      <a16:colId xmlns:a16="http://schemas.microsoft.com/office/drawing/2014/main" val="20004"/>
                    </a:ext>
                  </a:extLst>
                </a:gridCol>
                <a:gridCol w="1538110">
                  <a:extLst>
                    <a:ext uri="{9D8B030D-6E8A-4147-A177-3AD203B41FA5}">
                      <a16:colId xmlns:a16="http://schemas.microsoft.com/office/drawing/2014/main" val="20005"/>
                    </a:ext>
                  </a:extLst>
                </a:gridCol>
                <a:gridCol w="1360173">
                  <a:extLst>
                    <a:ext uri="{9D8B030D-6E8A-4147-A177-3AD203B41FA5}">
                      <a16:colId xmlns:a16="http://schemas.microsoft.com/office/drawing/2014/main" val="20006"/>
                    </a:ext>
                  </a:extLst>
                </a:gridCol>
              </a:tblGrid>
              <a:tr h="362504">
                <a:tc>
                  <a:txBody>
                    <a:bodyPr/>
                    <a:lstStyle/>
                    <a:p>
                      <a:pPr marL="0" marR="0" lvl="0" indent="0" algn="l" rtl="0">
                        <a:spcBef>
                          <a:spcPts val="0"/>
                        </a:spcBef>
                        <a:spcAft>
                          <a:spcPts val="0"/>
                        </a:spcAft>
                        <a:buClr>
                          <a:schemeClr val="accent1"/>
                        </a:buClr>
                        <a:buSzPts val="1100"/>
                        <a:buFont typeface="Source Sans Pro SemiBold"/>
                        <a:buNone/>
                      </a:pPr>
                      <a:r>
                        <a:rPr lang="en-US" sz="1000" u="none" strike="noStrike" cap="none">
                          <a:solidFill>
                            <a:schemeClr val="accent1"/>
                          </a:solidFill>
                          <a:latin typeface="Source Sans Pro SemiBold"/>
                          <a:ea typeface="Source Sans Pro SemiBold"/>
                          <a:cs typeface="Source Sans Pro SemiBold"/>
                          <a:sym typeface="Source Sans Pro SemiBold"/>
                        </a:rPr>
                        <a:t>EPIC</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100"/>
                        <a:buFont typeface="Source Sans Pro SemiBold"/>
                        <a:buNone/>
                      </a:pPr>
                      <a:r>
                        <a:rPr lang="en-US" sz="1000" b="0" i="0" u="none" strike="noStrike" cap="none">
                          <a:solidFill>
                            <a:srgbClr val="022D50"/>
                          </a:solidFill>
                          <a:latin typeface="Source Sans Pro SemiBold"/>
                          <a:ea typeface="Source Sans Pro SemiBold"/>
                          <a:cs typeface="Source Sans Pro SemiBold"/>
                          <a:sym typeface="Source Sans Pro SemiBold"/>
                        </a:rPr>
                        <a:t>STORY</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ESTIMATE</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ASSIGNED</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OUTPUT</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REVIEWED WITH VA-PO</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SPRINT TEAM GOAL COMPLETED?</a:t>
                      </a:r>
                      <a:endParaRPr sz="1000">
                        <a:latin typeface="Source Sans Pro SemiBold"/>
                        <a:ea typeface="Source Sans Pro SemiBold"/>
                        <a:cs typeface="Source Sans Pro SemiBold"/>
                        <a:sym typeface="Source Sans Pro SemiBold"/>
                      </a:endParaRPr>
                    </a:p>
                  </a:txBody>
                  <a:tcPr marL="91450" marR="9145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extLst>
                  <a:ext uri="{0D108BD9-81ED-4DB2-BD59-A6C34878D82A}">
                    <a16:rowId xmlns:a16="http://schemas.microsoft.com/office/drawing/2014/main" val="10000"/>
                  </a:ext>
                </a:extLst>
              </a:tr>
              <a:tr h="503619">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chemeClr val="dk1"/>
                        </a:buClr>
                        <a:buSzPts val="1050"/>
                        <a:buFont typeface="PT Serif"/>
                        <a:buNone/>
                        <a:tabLst/>
                        <a:defRPr/>
                      </a:pPr>
                      <a:r>
                        <a:rPr lang="en-US" sz="1000" b="0" i="0" u="none" strike="noStrike" cap="none">
                          <a:solidFill>
                            <a:schemeClr val="dk1"/>
                          </a:solidFill>
                          <a:latin typeface="Source Sans Pro"/>
                          <a:ea typeface="Source Sans Pro"/>
                          <a:hlinkClick r:id="rId7"/>
                        </a:rPr>
                        <a:t>#39227 Update model for encryption</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2</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eagan</a:t>
                      </a: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8"/>
                        </a:rPr>
                        <a:t>Ticket #G9457</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9"/>
                        </a:rPr>
                        <a:t>Ticket #G9423</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0"/>
                        </a:rPr>
                        <a:t>Ticket #G9430</a:t>
                      </a:r>
                      <a:endParaRPr lang="en-US" sz="1000" u="none">
                        <a:latin typeface="Source Sans Pro"/>
                        <a:ea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4/0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1"/>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1"/>
                        </a:rPr>
                        <a:t>#39226 Update AWS script</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3</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eagan</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8"/>
                        </a:rPr>
                        <a:t>Ticket #G9457</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9"/>
                        </a:rPr>
                        <a:t>Ticket #G9423</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0"/>
                        </a:rPr>
                        <a:t>Ticket #G9430</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4/0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2"/>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2"/>
                        </a:rPr>
                        <a:t>#38097 Front end testing</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5</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Nadya</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3"/>
                        </a:rPr>
                        <a:t>Ticket #G20619</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4"/>
                        </a:rPr>
                        <a:t>Ticket #G20693</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Arial"/>
                        </a:rPr>
                        <a:t>04/0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3"/>
                  </a:ext>
                </a:extLst>
              </a:tr>
              <a:tr h="342741">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5"/>
                        </a:rPr>
                        <a:t>#39290 Building out front end for error states</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5</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eagan</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3"/>
                        </a:rPr>
                        <a:t>Ticket #G20619</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4"/>
                        </a:rPr>
                        <a:t>Ticket #G20693</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Arial"/>
                        </a:rPr>
                        <a:t>04/0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4"/>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6"/>
                        </a:rPr>
                        <a:t>#38267 Explore options in fixing language parameters on PDF</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5</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eagan Nadya</a:t>
                      </a: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7"/>
                        </a:rPr>
                        <a:t>Testing</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7"/>
                        </a:rPr>
                        <a:t>your IT ticket</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29/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6"/>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8"/>
                        </a:rPr>
                        <a:t>#38387 1095-B Team staging review accessibility checklist</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3</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James Jordan</a:t>
                      </a:r>
                    </a:p>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Nadya</a:t>
                      </a:r>
                    </a:p>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eagan</a:t>
                      </a: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8"/>
                        </a:rPr>
                        <a:t>Ticket</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4/0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10"/>
                  </a:ext>
                </a:extLst>
              </a:tr>
            </a:tbl>
          </a:graphicData>
        </a:graphic>
      </p:graphicFrame>
      <p:sp>
        <p:nvSpPr>
          <p:cNvPr id="695" name="Google Shape;695;p20"/>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Source Sans Pro"/>
                <a:sym typeface="Source Sans Pro"/>
              </a:rPr>
              <a:t>Sprint 5 Deliverables</a:t>
            </a:r>
            <a:endParaRPr sz="1800">
              <a:solidFill>
                <a:schemeClr val="dk1"/>
              </a:solidFill>
              <a:latin typeface="Calibri"/>
              <a:ea typeface="Calibri"/>
              <a:cs typeface="Calibri"/>
              <a:sym typeface="Calibri"/>
            </a:endParaRPr>
          </a:p>
        </p:txBody>
      </p:sp>
      <p:sp>
        <p:nvSpPr>
          <p:cNvPr id="4" name="Google Shape;337;p6">
            <a:extLst>
              <a:ext uri="{FF2B5EF4-FFF2-40B4-BE49-F238E27FC236}">
                <a16:creationId xmlns:a16="http://schemas.microsoft.com/office/drawing/2014/main" id="{9AFC4AAF-F922-425A-B866-F5429471114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05 Sprint 5 Demo</a:t>
            </a:r>
            <a:endParaRPr sz="12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3889010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69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9F7FD-B9B1-4B3D-82B8-0B1D2490A0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1"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E339F7FD-B9B1-4B3D-82B8-0B1D2490A0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92" name="Google Shape;692;p20"/>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r>
              <a:rPr lang="en-US" sz="3200"/>
              <a:t>Sprint 5 Deliverables 1095-B (3 of 4)</a:t>
            </a:r>
          </a:p>
        </p:txBody>
      </p:sp>
      <p:sp>
        <p:nvSpPr>
          <p:cNvPr id="693" name="Google Shape;693;p20"/>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6</a:t>
            </a:fld>
            <a:endParaRPr>
              <a:latin typeface="Source Sans Pro"/>
              <a:ea typeface="Source Sans Pro"/>
              <a:cs typeface="Source Sans Pro"/>
              <a:sym typeface="Source Sans Pro"/>
            </a:endParaRPr>
          </a:p>
        </p:txBody>
      </p:sp>
      <p:graphicFrame>
        <p:nvGraphicFramePr>
          <p:cNvPr id="694" name="Google Shape;694;p20"/>
          <p:cNvGraphicFramePr/>
          <p:nvPr>
            <p:extLst>
              <p:ext uri="{D42A27DB-BD31-4B8C-83A1-F6EECF244321}">
                <p14:modId xmlns:p14="http://schemas.microsoft.com/office/powerpoint/2010/main" val="821226817"/>
              </p:ext>
            </p:extLst>
          </p:nvPr>
        </p:nvGraphicFramePr>
        <p:xfrm>
          <a:off x="431214" y="1030271"/>
          <a:ext cx="11329571" cy="1861915"/>
        </p:xfrm>
        <a:graphic>
          <a:graphicData uri="http://schemas.openxmlformats.org/drawingml/2006/table">
            <a:tbl>
              <a:tblPr>
                <a:noFill/>
                <a:tableStyleId>{1F4BC13E-62C9-4DB2-9D77-78E559E1D0AC}</a:tableStyleId>
              </a:tblPr>
              <a:tblGrid>
                <a:gridCol w="824272">
                  <a:extLst>
                    <a:ext uri="{9D8B030D-6E8A-4147-A177-3AD203B41FA5}">
                      <a16:colId xmlns:a16="http://schemas.microsoft.com/office/drawing/2014/main" val="20000"/>
                    </a:ext>
                  </a:extLst>
                </a:gridCol>
                <a:gridCol w="4085545">
                  <a:extLst>
                    <a:ext uri="{9D8B030D-6E8A-4147-A177-3AD203B41FA5}">
                      <a16:colId xmlns:a16="http://schemas.microsoft.com/office/drawing/2014/main" val="20001"/>
                    </a:ext>
                  </a:extLst>
                </a:gridCol>
                <a:gridCol w="747202">
                  <a:extLst>
                    <a:ext uri="{9D8B030D-6E8A-4147-A177-3AD203B41FA5}">
                      <a16:colId xmlns:a16="http://schemas.microsoft.com/office/drawing/2014/main" val="20002"/>
                    </a:ext>
                  </a:extLst>
                </a:gridCol>
                <a:gridCol w="776795">
                  <a:extLst>
                    <a:ext uri="{9D8B030D-6E8A-4147-A177-3AD203B41FA5}">
                      <a16:colId xmlns:a16="http://schemas.microsoft.com/office/drawing/2014/main" val="20003"/>
                    </a:ext>
                  </a:extLst>
                </a:gridCol>
                <a:gridCol w="1997474">
                  <a:extLst>
                    <a:ext uri="{9D8B030D-6E8A-4147-A177-3AD203B41FA5}">
                      <a16:colId xmlns:a16="http://schemas.microsoft.com/office/drawing/2014/main" val="20004"/>
                    </a:ext>
                  </a:extLst>
                </a:gridCol>
                <a:gridCol w="1538110">
                  <a:extLst>
                    <a:ext uri="{9D8B030D-6E8A-4147-A177-3AD203B41FA5}">
                      <a16:colId xmlns:a16="http://schemas.microsoft.com/office/drawing/2014/main" val="20005"/>
                    </a:ext>
                  </a:extLst>
                </a:gridCol>
                <a:gridCol w="1360173">
                  <a:extLst>
                    <a:ext uri="{9D8B030D-6E8A-4147-A177-3AD203B41FA5}">
                      <a16:colId xmlns:a16="http://schemas.microsoft.com/office/drawing/2014/main" val="20006"/>
                    </a:ext>
                  </a:extLst>
                </a:gridCol>
              </a:tblGrid>
              <a:tr h="362504">
                <a:tc>
                  <a:txBody>
                    <a:bodyPr/>
                    <a:lstStyle/>
                    <a:p>
                      <a:pPr marL="0" marR="0" lvl="0" indent="0" algn="l" rtl="0">
                        <a:spcBef>
                          <a:spcPts val="0"/>
                        </a:spcBef>
                        <a:spcAft>
                          <a:spcPts val="0"/>
                        </a:spcAft>
                        <a:buClr>
                          <a:schemeClr val="accent1"/>
                        </a:buClr>
                        <a:buSzPts val="1100"/>
                        <a:buFont typeface="Source Sans Pro SemiBold"/>
                        <a:buNone/>
                      </a:pPr>
                      <a:r>
                        <a:rPr lang="en-US" sz="1000" u="none" strike="noStrike" cap="none">
                          <a:solidFill>
                            <a:schemeClr val="accent1"/>
                          </a:solidFill>
                          <a:latin typeface="Source Sans Pro SemiBold"/>
                          <a:ea typeface="Source Sans Pro SemiBold"/>
                          <a:cs typeface="Source Sans Pro SemiBold"/>
                          <a:sym typeface="Source Sans Pro SemiBold"/>
                        </a:rPr>
                        <a:t>EPIC</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100"/>
                        <a:buFont typeface="Source Sans Pro SemiBold"/>
                        <a:buNone/>
                      </a:pPr>
                      <a:r>
                        <a:rPr lang="en-US" sz="1000" b="0" i="0" u="none" strike="noStrike" cap="none">
                          <a:solidFill>
                            <a:srgbClr val="022D50"/>
                          </a:solidFill>
                          <a:latin typeface="Source Sans Pro SemiBold"/>
                          <a:ea typeface="Source Sans Pro SemiBold"/>
                          <a:cs typeface="Source Sans Pro SemiBold"/>
                          <a:sym typeface="Source Sans Pro SemiBold"/>
                        </a:rPr>
                        <a:t>STORY</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ESTIMATE</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ASSIGNED</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OUTPUT</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REVIEWED WITH VA-PO</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SPRINT TEAM GOAL COMPLETED?</a:t>
                      </a:r>
                      <a:endParaRPr sz="1000">
                        <a:latin typeface="Source Sans Pro SemiBold"/>
                        <a:ea typeface="Source Sans Pro SemiBold"/>
                        <a:cs typeface="Source Sans Pro SemiBold"/>
                        <a:sym typeface="Source Sans Pro SemiBold"/>
                      </a:endParaRPr>
                    </a:p>
                  </a:txBody>
                  <a:tcPr marL="91450" marR="9145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extLst>
                  <a:ext uri="{0D108BD9-81ED-4DB2-BD59-A6C34878D82A}">
                    <a16:rowId xmlns:a16="http://schemas.microsoft.com/office/drawing/2014/main" val="10000"/>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M</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12700" cap="flat" cmpd="sng" algn="ctr">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7"/>
                        </a:rPr>
                        <a:t>#38903 Aligned on path forward regarding PDF accessibility</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12700" cap="flat" cmpd="sng" algn="ctr">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0</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12700" cap="flat" cmpd="sng" algn="ctr">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Jordan</a:t>
                      </a: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12700" cap="flat" cmpd="sng" algn="ctr">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8"/>
                        </a:rPr>
                        <a:t>Testing</a:t>
                      </a: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8"/>
                        </a:rPr>
                        <a:t>Platform guidance</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9"/>
                        </a:rPr>
                        <a:t>Ticket</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12700" cap="flat" cmpd="sng" algn="ctr">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29/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12700" cap="flat" cmpd="sng" algn="ctr">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lgn="ctr">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2"/>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M</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0"/>
                        </a:rPr>
                        <a:t>#39304 Draft notice to VA Accessibility Office regarding product non-compliance</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2</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ami Jordan</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9"/>
                        </a:rPr>
                        <a:t>Ticket</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4/01/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3"/>
                  </a:ext>
                </a:extLst>
              </a:tr>
              <a:tr h="342741">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M</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1"/>
                        </a:rPr>
                        <a:t>#38039 Understand what is needed for legal review and impact to timeline</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1</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Munish</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rPr>
                        <a:t>NR</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2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4"/>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M</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2"/>
                        </a:rPr>
                        <a:t>#39020 Submit intake forms for Profiles and HEC</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2</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ami Jordan</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3"/>
                        </a:rPr>
                        <a:t>Ticket</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4"/>
                        </a:rPr>
                        <a:t>Update 4/4</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4/01/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5"/>
                  </a:ext>
                </a:extLst>
              </a:tr>
            </a:tbl>
          </a:graphicData>
        </a:graphic>
      </p:graphicFrame>
      <p:sp>
        <p:nvSpPr>
          <p:cNvPr id="695" name="Google Shape;695;p20"/>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Source Sans Pro"/>
                <a:sym typeface="Source Sans Pro"/>
              </a:rPr>
              <a:t>Sprint 5 Deliverables</a:t>
            </a:r>
            <a:endParaRPr sz="1800">
              <a:solidFill>
                <a:schemeClr val="dk1"/>
              </a:solidFill>
              <a:latin typeface="Calibri"/>
              <a:ea typeface="Calibri"/>
              <a:cs typeface="Calibri"/>
              <a:sym typeface="Calibri"/>
            </a:endParaRPr>
          </a:p>
        </p:txBody>
      </p:sp>
      <p:sp>
        <p:nvSpPr>
          <p:cNvPr id="4" name="Google Shape;337;p6">
            <a:extLst>
              <a:ext uri="{FF2B5EF4-FFF2-40B4-BE49-F238E27FC236}">
                <a16:creationId xmlns:a16="http://schemas.microsoft.com/office/drawing/2014/main" id="{9AFC4AAF-F922-425A-B866-F5429471114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05 Sprint 5 Demo</a:t>
            </a:r>
            <a:endParaRPr sz="12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6036339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69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9F7FD-B9B1-4B3D-82B8-0B1D2490A0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29"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E339F7FD-B9B1-4B3D-82B8-0B1D2490A0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92" name="Google Shape;692;p20"/>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r>
              <a:rPr lang="en-US" sz="3200"/>
              <a:t>Sprint 5 Deliverables – CC</a:t>
            </a:r>
          </a:p>
        </p:txBody>
      </p:sp>
      <p:sp>
        <p:nvSpPr>
          <p:cNvPr id="693" name="Google Shape;693;p20"/>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7</a:t>
            </a:fld>
            <a:endParaRPr>
              <a:latin typeface="Source Sans Pro"/>
              <a:ea typeface="Source Sans Pro"/>
              <a:cs typeface="Source Sans Pro"/>
              <a:sym typeface="Source Sans Pro"/>
            </a:endParaRPr>
          </a:p>
        </p:txBody>
      </p:sp>
      <p:graphicFrame>
        <p:nvGraphicFramePr>
          <p:cNvPr id="694" name="Google Shape;694;p20"/>
          <p:cNvGraphicFramePr/>
          <p:nvPr>
            <p:extLst>
              <p:ext uri="{D42A27DB-BD31-4B8C-83A1-F6EECF244321}">
                <p14:modId xmlns:p14="http://schemas.microsoft.com/office/powerpoint/2010/main" val="1364903822"/>
              </p:ext>
            </p:extLst>
          </p:nvPr>
        </p:nvGraphicFramePr>
        <p:xfrm>
          <a:off x="431214" y="1030271"/>
          <a:ext cx="11329571" cy="2390123"/>
        </p:xfrm>
        <a:graphic>
          <a:graphicData uri="http://schemas.openxmlformats.org/drawingml/2006/table">
            <a:tbl>
              <a:tblPr>
                <a:noFill/>
                <a:tableStyleId>{1F4BC13E-62C9-4DB2-9D77-78E559E1D0AC}</a:tableStyleId>
              </a:tblPr>
              <a:tblGrid>
                <a:gridCol w="824272">
                  <a:extLst>
                    <a:ext uri="{9D8B030D-6E8A-4147-A177-3AD203B41FA5}">
                      <a16:colId xmlns:a16="http://schemas.microsoft.com/office/drawing/2014/main" val="20000"/>
                    </a:ext>
                  </a:extLst>
                </a:gridCol>
                <a:gridCol w="4085545">
                  <a:extLst>
                    <a:ext uri="{9D8B030D-6E8A-4147-A177-3AD203B41FA5}">
                      <a16:colId xmlns:a16="http://schemas.microsoft.com/office/drawing/2014/main" val="20001"/>
                    </a:ext>
                  </a:extLst>
                </a:gridCol>
                <a:gridCol w="747202">
                  <a:extLst>
                    <a:ext uri="{9D8B030D-6E8A-4147-A177-3AD203B41FA5}">
                      <a16:colId xmlns:a16="http://schemas.microsoft.com/office/drawing/2014/main" val="20002"/>
                    </a:ext>
                  </a:extLst>
                </a:gridCol>
                <a:gridCol w="776795">
                  <a:extLst>
                    <a:ext uri="{9D8B030D-6E8A-4147-A177-3AD203B41FA5}">
                      <a16:colId xmlns:a16="http://schemas.microsoft.com/office/drawing/2014/main" val="20003"/>
                    </a:ext>
                  </a:extLst>
                </a:gridCol>
                <a:gridCol w="1997474">
                  <a:extLst>
                    <a:ext uri="{9D8B030D-6E8A-4147-A177-3AD203B41FA5}">
                      <a16:colId xmlns:a16="http://schemas.microsoft.com/office/drawing/2014/main" val="20004"/>
                    </a:ext>
                  </a:extLst>
                </a:gridCol>
                <a:gridCol w="1538110">
                  <a:extLst>
                    <a:ext uri="{9D8B030D-6E8A-4147-A177-3AD203B41FA5}">
                      <a16:colId xmlns:a16="http://schemas.microsoft.com/office/drawing/2014/main" val="20005"/>
                    </a:ext>
                  </a:extLst>
                </a:gridCol>
                <a:gridCol w="1360173">
                  <a:extLst>
                    <a:ext uri="{9D8B030D-6E8A-4147-A177-3AD203B41FA5}">
                      <a16:colId xmlns:a16="http://schemas.microsoft.com/office/drawing/2014/main" val="20006"/>
                    </a:ext>
                  </a:extLst>
                </a:gridCol>
              </a:tblGrid>
              <a:tr h="362504">
                <a:tc>
                  <a:txBody>
                    <a:bodyPr/>
                    <a:lstStyle/>
                    <a:p>
                      <a:pPr marL="0" marR="0" lvl="0" indent="0" algn="l" rtl="0">
                        <a:spcBef>
                          <a:spcPts val="0"/>
                        </a:spcBef>
                        <a:spcAft>
                          <a:spcPts val="0"/>
                        </a:spcAft>
                        <a:buClr>
                          <a:schemeClr val="accent1"/>
                        </a:buClr>
                        <a:buSzPts val="1100"/>
                        <a:buFont typeface="Source Sans Pro SemiBold"/>
                        <a:buNone/>
                      </a:pPr>
                      <a:r>
                        <a:rPr lang="en-US" sz="1000" u="none" strike="noStrike" cap="none">
                          <a:solidFill>
                            <a:schemeClr val="accent1"/>
                          </a:solidFill>
                          <a:latin typeface="Source Sans Pro SemiBold"/>
                          <a:ea typeface="Source Sans Pro SemiBold"/>
                          <a:cs typeface="Source Sans Pro SemiBold"/>
                          <a:sym typeface="Source Sans Pro SemiBold"/>
                        </a:rPr>
                        <a:t>EPIC</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100"/>
                        <a:buFont typeface="Source Sans Pro SemiBold"/>
                        <a:buNone/>
                      </a:pPr>
                      <a:r>
                        <a:rPr lang="en-US" sz="1000" b="0" i="0" u="none" strike="noStrike" cap="none">
                          <a:solidFill>
                            <a:srgbClr val="022D50"/>
                          </a:solidFill>
                          <a:latin typeface="Source Sans Pro SemiBold"/>
                          <a:ea typeface="Source Sans Pro SemiBold"/>
                          <a:cs typeface="Source Sans Pro SemiBold"/>
                          <a:sym typeface="Source Sans Pro SemiBold"/>
                        </a:rPr>
                        <a:t>STORY</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ESTIMATE</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ASSIGNED</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OUTPUT</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REVIEWED WITH VA-PO</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SPRINT TEAM GOAL COMPLETED?</a:t>
                      </a:r>
                      <a:endParaRPr sz="1000">
                        <a:latin typeface="Source Sans Pro SemiBold"/>
                        <a:ea typeface="Source Sans Pro SemiBold"/>
                        <a:cs typeface="Source Sans Pro SemiBold"/>
                        <a:sym typeface="Source Sans Pro SemiBold"/>
                      </a:endParaRPr>
                    </a:p>
                  </a:txBody>
                  <a:tcPr marL="91450" marR="9145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extLst>
                  <a:ext uri="{0D108BD9-81ED-4DB2-BD59-A6C34878D82A}">
                    <a16:rowId xmlns:a16="http://schemas.microsoft.com/office/drawing/2014/main" val="10000"/>
                  </a:ext>
                </a:extLst>
              </a:tr>
              <a:tr h="503619">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eaLnBrk="1" fontAlgn="auto" latinLnBrk="0" hangingPunct="1">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7"/>
                        </a:rPr>
                        <a:t>#39072 CC: Conduct initial product discovery through review of current MHV work product and past documentation</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5</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James</a:t>
                      </a:r>
                      <a:endParaRPr lang="en-US" sz="1000" u="none" strike="noStrike" cap="none">
                        <a:latin typeface="Source Sans Pro"/>
                        <a:ea typeface="Source Sans Pro"/>
                        <a:cs typeface="Source Sans Pro"/>
                      </a:endParaRPr>
                    </a:p>
                    <a:p>
                      <a:pPr marL="0" marR="0" lvl="0" indent="0" algn="l">
                        <a:lnSpc>
                          <a:spcPct val="100000"/>
                        </a:lnSpc>
                        <a:spcBef>
                          <a:spcPts val="0"/>
                        </a:spcBef>
                        <a:spcAft>
                          <a:spcPts val="0"/>
                        </a:spcAft>
                        <a:buSzPts val="1050"/>
                        <a:buFont typeface="PT Serif"/>
                        <a:buNone/>
                      </a:pPr>
                      <a:r>
                        <a:rPr lang="en-US" sz="1000" u="none" strike="noStrike" cap="none">
                          <a:latin typeface="Source Sans Pro"/>
                          <a:ea typeface="Source Sans Pro"/>
                          <a:cs typeface="Source Sans Pro"/>
                        </a:rPr>
                        <a:t> Carl</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8"/>
                        </a:rPr>
                        <a:t>Journey Map</a:t>
                      </a:r>
                      <a:endParaRPr lang="en-US" sz="1000" b="0" i="0" u="none" strike="noStrike" cap="none">
                        <a:solidFill>
                          <a:schemeClr val="dk1"/>
                        </a:solidFill>
                        <a:latin typeface="Source Sans Pro"/>
                        <a:ea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4/0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1"/>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9"/>
                        </a:rPr>
                        <a:t>#39071 CC: Conduct  product discovery through business partner interview(s)to pull insights</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8</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James</a:t>
                      </a:r>
                      <a:endParaRPr lang="en-US"/>
                    </a:p>
                    <a:p>
                      <a:pPr marL="0" marR="0" lvl="0" indent="0" algn="l">
                        <a:lnSpc>
                          <a:spcPct val="100000"/>
                        </a:lnSpc>
                        <a:spcBef>
                          <a:spcPts val="0"/>
                        </a:spcBef>
                        <a:spcAft>
                          <a:spcPts val="0"/>
                        </a:spcAft>
                        <a:buSzPts val="1050"/>
                        <a:buFont typeface="PT Serif"/>
                        <a:buNone/>
                      </a:pPr>
                      <a:r>
                        <a:rPr lang="en-US" sz="1000" u="none" strike="noStrike" cap="none">
                          <a:latin typeface="Source Sans Pro"/>
                          <a:ea typeface="Source Sans Pro"/>
                          <a:cs typeface="Source Sans Pro"/>
                        </a:rPr>
                        <a:t>Jordan Kit</a:t>
                      </a:r>
                      <a:endParaRPr lang="en-US"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rPr>
                        <a:t>Insights; p. 20 of Demo Deck</a:t>
                      </a: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8"/>
                        </a:rPr>
                        <a:t>Journey Map</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4/0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2"/>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0"/>
                        </a:rPr>
                        <a:t>#39176 CC: Conduct initial discovery into data sources used in the health apartment</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5</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MunishJordan Teagan</a:t>
                      </a:r>
                      <a:r>
                        <a:rPr lang="en-US" sz="1000" u="none" strike="noStrike" cap="none">
                          <a:latin typeface="Source Sans Pro"/>
                          <a:ea typeface="Source Sans Pro"/>
                          <a:cs typeface="Source Sans Pro"/>
                        </a:rPr>
                        <a:t> </a:t>
                      </a:r>
                      <a:endParaRPr lang="en-US"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1"/>
                        </a:rPr>
                        <a:t>CC IA</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Arial"/>
                        </a:rPr>
                        <a:t>04/0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3"/>
                  </a:ext>
                </a:extLst>
              </a:tr>
              <a:tr h="342741">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2"/>
                        </a:rPr>
                        <a:t>#39177 CC: Conduct initial discovery into API’s</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5</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Munish Jordan</a:t>
                      </a:r>
                    </a:p>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eagan</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1"/>
                        </a:rPr>
                        <a:t>CC IA</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Arial"/>
                        </a:rPr>
                        <a:t>04/0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4"/>
                  </a:ext>
                </a:extLst>
              </a:tr>
            </a:tbl>
          </a:graphicData>
        </a:graphic>
      </p:graphicFrame>
      <p:sp>
        <p:nvSpPr>
          <p:cNvPr id="695" name="Google Shape;695;p20"/>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Source Sans Pro"/>
                <a:sym typeface="Source Sans Pro"/>
              </a:rPr>
              <a:t>Sprint 5 Deliverables</a:t>
            </a:r>
            <a:endParaRPr sz="1800">
              <a:solidFill>
                <a:schemeClr val="dk1"/>
              </a:solidFill>
              <a:latin typeface="Calibri"/>
              <a:ea typeface="Calibri"/>
              <a:cs typeface="Calibri"/>
              <a:sym typeface="Calibri"/>
            </a:endParaRPr>
          </a:p>
        </p:txBody>
      </p:sp>
      <p:sp>
        <p:nvSpPr>
          <p:cNvPr id="4" name="Google Shape;337;p6">
            <a:extLst>
              <a:ext uri="{FF2B5EF4-FFF2-40B4-BE49-F238E27FC236}">
                <a16:creationId xmlns:a16="http://schemas.microsoft.com/office/drawing/2014/main" id="{9AFC4AAF-F922-425A-B866-F5429471114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05 Sprint 5 Demo</a:t>
            </a:r>
            <a:endParaRPr sz="1200" b="0" i="0" u="none" strike="noStrike" cap="none">
              <a:solidFill>
                <a:srgbClr val="747C74"/>
              </a:solidFill>
              <a:latin typeface="Calibri"/>
              <a:ea typeface="Calibri"/>
              <a:cs typeface="Calibri"/>
              <a:sym typeface="Calibri"/>
            </a:endParaRPr>
          </a:p>
        </p:txBody>
      </p:sp>
      <p:sp>
        <p:nvSpPr>
          <p:cNvPr id="9" name="TextBox 8">
            <a:extLst>
              <a:ext uri="{FF2B5EF4-FFF2-40B4-BE49-F238E27FC236}">
                <a16:creationId xmlns:a16="http://schemas.microsoft.com/office/drawing/2014/main" id="{89461D6D-F79F-4EDF-961F-0584EC3D92D7}"/>
              </a:ext>
            </a:extLst>
          </p:cNvPr>
          <p:cNvSpPr txBox="1"/>
          <p:nvPr/>
        </p:nvSpPr>
        <p:spPr>
          <a:xfrm>
            <a:off x="3048501" y="3275112"/>
            <a:ext cx="6097002" cy="307777"/>
          </a:xfrm>
          <a:prstGeom prst="rect">
            <a:avLst/>
          </a:prstGeom>
          <a:noFill/>
        </p:spPr>
        <p:txBody>
          <a:bodyPr wrap="square">
            <a:spAutoFit/>
          </a:bodyPr>
          <a:lstStyle/>
          <a:p>
            <a:r>
              <a:rPr lang="en-US" b="0">
                <a:effectLst/>
              </a:rPr>
              <a:t> </a:t>
            </a:r>
            <a:endParaRPr lang="en-US"/>
          </a:p>
        </p:txBody>
      </p:sp>
    </p:spTree>
    <p:extLst>
      <p:ext uri="{BB962C8B-B14F-4D97-AF65-F5344CB8AC3E}">
        <p14:creationId xmlns:p14="http://schemas.microsoft.com/office/powerpoint/2010/main" val="11384744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703"/>
        <p:cNvGrpSpPr/>
        <p:nvPr/>
      </p:nvGrpSpPr>
      <p:grpSpPr>
        <a:xfrm>
          <a:off x="0" y="0"/>
          <a:ext cx="0" cy="0"/>
          <a:chOff x="0" y="0"/>
          <a:chExt cx="0" cy="0"/>
        </a:xfrm>
      </p:grpSpPr>
      <p:sp>
        <p:nvSpPr>
          <p:cNvPr id="704" name="Google Shape;704;p21"/>
          <p:cNvSpPr txBox="1">
            <a:spLocks noGrp="1"/>
          </p:cNvSpPr>
          <p:nvPr>
            <p:ph type="ctrTitle"/>
          </p:nvPr>
        </p:nvSpPr>
        <p:spPr>
          <a:xfrm>
            <a:off x="317460" y="2938176"/>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6600"/>
              <a:buFont typeface="PT Serif"/>
              <a:buNone/>
            </a:pPr>
            <a:r>
              <a:rPr lang="en-US"/>
              <a:t>Preview of Sprint 6</a:t>
            </a:r>
            <a:endParaRPr/>
          </a:p>
        </p:txBody>
      </p:sp>
      <p:sp>
        <p:nvSpPr>
          <p:cNvPr id="705" name="Google Shape;705;p21"/>
          <p:cNvSpPr txBox="1">
            <a:spLocks noGrp="1"/>
          </p:cNvSpPr>
          <p:nvPr>
            <p:ph type="body" idx="1"/>
          </p:nvPr>
        </p:nvSpPr>
        <p:spPr>
          <a:xfrm>
            <a:off x="341868" y="2523777"/>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a:t>SPRINT 5 DEMO</a:t>
            </a:r>
            <a:endParaRPr/>
          </a:p>
        </p:txBody>
      </p:sp>
      <p:sp>
        <p:nvSpPr>
          <p:cNvPr id="706" name="Google Shape;706;p21"/>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28</a:t>
            </a:fld>
            <a:endParaRPr/>
          </a:p>
        </p:txBody>
      </p:sp>
      <p:sp>
        <p:nvSpPr>
          <p:cNvPr id="2" name="Google Shape;265;p4">
            <a:extLst>
              <a:ext uri="{FF2B5EF4-FFF2-40B4-BE49-F238E27FC236}">
                <a16:creationId xmlns:a16="http://schemas.microsoft.com/office/drawing/2014/main" id="{218A2BF7-C208-A0CB-E88F-A3CA5FD0CE37}"/>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05 Sprint 5 Demo</a:t>
            </a:r>
            <a:endParaRPr sz="1800" b="0" i="0" u="none" strike="noStrike" cap="none">
              <a:solidFill>
                <a:srgbClr val="747C74"/>
              </a:solidFill>
              <a:latin typeface="Calibri"/>
              <a:ea typeface="Calibri"/>
              <a:cs typeface="Calibri"/>
              <a:sym typeface="Calibri"/>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6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E7A1E5-B23E-48F6-B40F-A8EC6017F6F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5"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AAE7A1E5-B23E-48F6-B40F-A8EC6017F6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71" name="Google Shape;471;p9"/>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05 Sprint 5 Demo</a:t>
            </a:r>
            <a:endParaRPr sz="1200" b="0" i="0" u="none" strike="noStrike" cap="none">
              <a:solidFill>
                <a:srgbClr val="747C74"/>
              </a:solidFill>
              <a:latin typeface="Calibri"/>
              <a:ea typeface="Calibri"/>
              <a:cs typeface="Calibri"/>
              <a:sym typeface="Calibri"/>
            </a:endParaRPr>
          </a:p>
        </p:txBody>
      </p:sp>
      <p:graphicFrame>
        <p:nvGraphicFramePr>
          <p:cNvPr id="488" name="Google Shape;488;p9"/>
          <p:cNvGraphicFramePr/>
          <p:nvPr>
            <p:extLst>
              <p:ext uri="{D42A27DB-BD31-4B8C-83A1-F6EECF244321}">
                <p14:modId xmlns:p14="http://schemas.microsoft.com/office/powerpoint/2010/main" val="3507189711"/>
              </p:ext>
            </p:extLst>
          </p:nvPr>
        </p:nvGraphicFramePr>
        <p:xfrm>
          <a:off x="435089" y="1888500"/>
          <a:ext cx="2583092" cy="551365"/>
        </p:xfrm>
        <a:graphic>
          <a:graphicData uri="http://schemas.openxmlformats.org/drawingml/2006/table">
            <a:tbl>
              <a:tblPr firstRow="1" bandRow="1">
                <a:noFill/>
                <a:tableStyleId>{AC820A2F-F511-4E25-9DDC-E36724F9A483}</a:tableStyleId>
              </a:tblPr>
              <a:tblGrid>
                <a:gridCol w="73731">
                  <a:extLst>
                    <a:ext uri="{9D8B030D-6E8A-4147-A177-3AD203B41FA5}">
                      <a16:colId xmlns:a16="http://schemas.microsoft.com/office/drawing/2014/main" val="20000"/>
                    </a:ext>
                  </a:extLst>
                </a:gridCol>
                <a:gridCol w="2509361">
                  <a:extLst>
                    <a:ext uri="{9D8B030D-6E8A-4147-A177-3AD203B41FA5}">
                      <a16:colId xmlns:a16="http://schemas.microsoft.com/office/drawing/2014/main" val="20001"/>
                    </a:ext>
                  </a:extLst>
                </a:gridCol>
              </a:tblGrid>
              <a:tr h="551365">
                <a:tc>
                  <a:txBody>
                    <a:bodyPr/>
                    <a:lstStyle/>
                    <a:p>
                      <a:pPr marL="0" marR="0" lvl="0" indent="0" algn="l" rtl="0">
                        <a:spcBef>
                          <a:spcPts val="0"/>
                        </a:spcBef>
                        <a:spcAft>
                          <a:spcPts val="0"/>
                        </a:spcAft>
                        <a:buNone/>
                      </a:pPr>
                      <a:endParaRPr sz="1800"/>
                    </a:p>
                  </a:txBody>
                  <a:tcPr marL="0" marR="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tc>
                  <a:txBody>
                    <a:bodyPr/>
                    <a:lstStyle/>
                    <a:p>
                      <a:pPr lvl="0" algn="l">
                        <a:lnSpc>
                          <a:spcPct val="100000"/>
                        </a:lnSpc>
                        <a:spcBef>
                          <a:spcPts val="0"/>
                        </a:spcBef>
                        <a:spcAft>
                          <a:spcPts val="0"/>
                        </a:spcAft>
                        <a:buNone/>
                      </a:pPr>
                      <a:r>
                        <a:rPr lang="en-US" sz="1200" b="0" i="0" u="none" strike="noStrike" cap="none" noProof="0">
                          <a:solidFill>
                            <a:schemeClr val="dk2"/>
                          </a:solidFill>
                          <a:latin typeface="Source Sans Pro Semibold"/>
                        </a:rPr>
                        <a:t>Next sprint demo:</a:t>
                      </a:r>
                      <a:r>
                        <a:rPr lang="en-US" sz="1200" b="1" i="0" u="none" strike="noStrike" cap="none" noProof="0">
                          <a:solidFill>
                            <a:schemeClr val="dk2"/>
                          </a:solidFill>
                          <a:latin typeface="Source Sans Pro"/>
                        </a:rPr>
                        <a:t> April 19</a:t>
                      </a:r>
                      <a:endParaRPr lang="en-US" sz="1200" b="0" i="0" u="none" strike="noStrike" cap="none" noProof="0">
                        <a:solidFill>
                          <a:schemeClr val="dk2"/>
                        </a:solidFill>
                        <a:latin typeface="Source Sans Pro"/>
                      </a:endParaRPr>
                    </a:p>
                  </a:txBody>
                  <a:tcPr marL="182875" marR="182875" marT="182875" marB="1828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8E8E8"/>
                    </a:solidFill>
                  </a:tcPr>
                </a:tc>
                <a:extLst>
                  <a:ext uri="{0D108BD9-81ED-4DB2-BD59-A6C34878D82A}">
                    <a16:rowId xmlns:a16="http://schemas.microsoft.com/office/drawing/2014/main" val="10000"/>
                  </a:ext>
                </a:extLst>
              </a:tr>
            </a:tbl>
          </a:graphicData>
        </a:graphic>
      </p:graphicFrame>
      <p:grpSp>
        <p:nvGrpSpPr>
          <p:cNvPr id="4" name="Group 3">
            <a:extLst>
              <a:ext uri="{FF2B5EF4-FFF2-40B4-BE49-F238E27FC236}">
                <a16:creationId xmlns:a16="http://schemas.microsoft.com/office/drawing/2014/main" id="{AB31B214-37A4-4CE0-A956-87A5196939D4}"/>
              </a:ext>
            </a:extLst>
          </p:cNvPr>
          <p:cNvGrpSpPr/>
          <p:nvPr/>
        </p:nvGrpSpPr>
        <p:grpSpPr>
          <a:xfrm>
            <a:off x="3587603" y="2023912"/>
            <a:ext cx="1106250" cy="406001"/>
            <a:chOff x="3240398" y="1573764"/>
            <a:chExt cx="1106250" cy="406001"/>
          </a:xfrm>
        </p:grpSpPr>
        <p:sp>
          <p:nvSpPr>
            <p:cNvPr id="474" name="Google Shape;474;p9"/>
            <p:cNvSpPr/>
            <p:nvPr/>
          </p:nvSpPr>
          <p:spPr>
            <a:xfrm>
              <a:off x="3240398" y="1576175"/>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50" b="0" i="0" u="none" strike="noStrike" cap="none">
                  <a:solidFill>
                    <a:srgbClr val="FDFFFD"/>
                  </a:solidFill>
                  <a:latin typeface="Arial"/>
                  <a:ea typeface="Arial"/>
                  <a:cs typeface="Arial"/>
                  <a:sym typeface="Arial"/>
                </a:rPr>
                <a:t>1</a:t>
              </a:r>
              <a:endParaRPr sz="1000" b="0" i="0" u="none" strike="noStrike" cap="none">
                <a:solidFill>
                  <a:srgbClr val="000000"/>
                </a:solidFill>
                <a:latin typeface="Arial"/>
                <a:ea typeface="Arial"/>
                <a:cs typeface="Arial"/>
                <a:sym typeface="Arial"/>
              </a:endParaRPr>
            </a:p>
          </p:txBody>
        </p:sp>
        <p:sp>
          <p:nvSpPr>
            <p:cNvPr id="478" name="Google Shape;478;p9"/>
            <p:cNvSpPr txBox="1"/>
            <p:nvPr/>
          </p:nvSpPr>
          <p:spPr>
            <a:xfrm>
              <a:off x="3532057" y="1573764"/>
              <a:ext cx="814591" cy="406001"/>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PRODUCT</a:t>
              </a:r>
              <a:endParaRPr lang="en-US"/>
            </a:p>
          </p:txBody>
        </p:sp>
      </p:grpSp>
      <p:sp>
        <p:nvSpPr>
          <p:cNvPr id="482" name="Google Shape;482;p9"/>
          <p:cNvSpPr txBox="1"/>
          <p:nvPr/>
        </p:nvSpPr>
        <p:spPr>
          <a:xfrm>
            <a:off x="4825717" y="2009565"/>
            <a:ext cx="6083811" cy="861774"/>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sz="900">
                <a:latin typeface="PT Serif"/>
              </a:rPr>
              <a:t>1095-B: UAT</a:t>
            </a:r>
          </a:p>
          <a:p>
            <a:pPr marL="228600" indent="-228600">
              <a:spcBef>
                <a:spcPts val="600"/>
              </a:spcBef>
              <a:buClr>
                <a:srgbClr val="747C74"/>
              </a:buClr>
              <a:buSzPts val="1200"/>
              <a:buAutoNum type="alphaUcPeriod"/>
            </a:pPr>
            <a:r>
              <a:rPr lang="en-US" sz="900">
                <a:latin typeface="PT Serif"/>
              </a:rPr>
              <a:t>1095-B: Opt-In follow up</a:t>
            </a:r>
          </a:p>
          <a:p>
            <a:pPr marL="228600" indent="-228600">
              <a:spcBef>
                <a:spcPts val="600"/>
              </a:spcBef>
              <a:buClr>
                <a:srgbClr val="747C74"/>
              </a:buClr>
              <a:buSzPts val="1200"/>
              <a:buAutoNum type="alphaUcPeriod"/>
            </a:pPr>
            <a:r>
              <a:rPr lang="en-US" sz="900">
                <a:latin typeface="PT Serif"/>
              </a:rPr>
              <a:t>CC: Product discovery to assess complexity, value and viability</a:t>
            </a:r>
          </a:p>
          <a:p>
            <a:pPr marL="228600" indent="-228600">
              <a:spcBef>
                <a:spcPts val="600"/>
              </a:spcBef>
              <a:buClr>
                <a:srgbClr val="747C74"/>
              </a:buClr>
              <a:buSzPts val="1200"/>
              <a:buAutoNum type="alphaUcPeriod"/>
            </a:pPr>
            <a:r>
              <a:rPr lang="en-US" sz="900">
                <a:latin typeface="PT Serif"/>
              </a:rPr>
              <a:t>CC: Identify MVP</a:t>
            </a:r>
          </a:p>
        </p:txBody>
      </p:sp>
      <p:grpSp>
        <p:nvGrpSpPr>
          <p:cNvPr id="5" name="Group 4">
            <a:extLst>
              <a:ext uri="{FF2B5EF4-FFF2-40B4-BE49-F238E27FC236}">
                <a16:creationId xmlns:a16="http://schemas.microsoft.com/office/drawing/2014/main" id="{B4748D22-10CC-4855-AD20-21CA97C1DB4C}"/>
              </a:ext>
            </a:extLst>
          </p:cNvPr>
          <p:cNvGrpSpPr/>
          <p:nvPr/>
        </p:nvGrpSpPr>
        <p:grpSpPr>
          <a:xfrm>
            <a:off x="3587603" y="3918675"/>
            <a:ext cx="839223" cy="297144"/>
            <a:chOff x="3262592" y="4241791"/>
            <a:chExt cx="839223" cy="297144"/>
          </a:xfrm>
        </p:grpSpPr>
        <p:sp>
          <p:nvSpPr>
            <p:cNvPr id="475" name="Google Shape;475;p9"/>
            <p:cNvSpPr txBox="1"/>
            <p:nvPr/>
          </p:nvSpPr>
          <p:spPr>
            <a:xfrm>
              <a:off x="3536983" y="4241791"/>
              <a:ext cx="564832" cy="297144"/>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TECH</a:t>
              </a:r>
              <a:endParaRPr lang="en-US"/>
            </a:p>
          </p:txBody>
        </p:sp>
        <p:sp>
          <p:nvSpPr>
            <p:cNvPr id="479" name="Google Shape;479;p9"/>
            <p:cNvSpPr/>
            <p:nvPr/>
          </p:nvSpPr>
          <p:spPr>
            <a:xfrm>
              <a:off x="3262592" y="4242802"/>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50" b="0" i="0" u="none" strike="noStrike" cap="none">
                  <a:solidFill>
                    <a:srgbClr val="FDFFFD"/>
                  </a:solidFill>
                  <a:latin typeface="Arial"/>
                  <a:ea typeface="Arial"/>
                  <a:cs typeface="Arial"/>
                  <a:sym typeface="Arial"/>
                </a:rPr>
                <a:t>3</a:t>
              </a:r>
              <a:endParaRPr sz="1000" b="0" i="0" u="none" strike="noStrike" cap="none">
                <a:solidFill>
                  <a:srgbClr val="000000"/>
                </a:solidFill>
                <a:latin typeface="Arial"/>
                <a:ea typeface="Arial"/>
                <a:cs typeface="Arial"/>
                <a:sym typeface="Arial"/>
              </a:endParaRPr>
            </a:p>
          </p:txBody>
        </p:sp>
      </p:grpSp>
      <p:grpSp>
        <p:nvGrpSpPr>
          <p:cNvPr id="2" name="Group 1">
            <a:extLst>
              <a:ext uri="{FF2B5EF4-FFF2-40B4-BE49-F238E27FC236}">
                <a16:creationId xmlns:a16="http://schemas.microsoft.com/office/drawing/2014/main" id="{5446D027-4741-472B-92E7-05F1C5E0D155}"/>
              </a:ext>
            </a:extLst>
          </p:cNvPr>
          <p:cNvGrpSpPr/>
          <p:nvPr/>
        </p:nvGrpSpPr>
        <p:grpSpPr>
          <a:xfrm>
            <a:off x="3577726" y="3120495"/>
            <a:ext cx="1155249" cy="406001"/>
            <a:chOff x="3247796" y="2994263"/>
            <a:chExt cx="1155249" cy="406001"/>
          </a:xfrm>
        </p:grpSpPr>
        <p:sp>
          <p:nvSpPr>
            <p:cNvPr id="477" name="Google Shape;477;p9"/>
            <p:cNvSpPr/>
            <p:nvPr/>
          </p:nvSpPr>
          <p:spPr>
            <a:xfrm>
              <a:off x="3247796" y="2996622"/>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50" b="0" i="0" u="none" strike="noStrike" cap="none">
                  <a:solidFill>
                    <a:srgbClr val="FDFFFD"/>
                  </a:solidFill>
                  <a:latin typeface="Arial"/>
                  <a:ea typeface="Arial"/>
                  <a:cs typeface="Arial"/>
                  <a:sym typeface="Arial"/>
                </a:rPr>
                <a:t>2</a:t>
              </a:r>
              <a:endParaRPr sz="1000" b="0" i="0" u="none" strike="noStrike" cap="none">
                <a:solidFill>
                  <a:srgbClr val="000000"/>
                </a:solidFill>
                <a:latin typeface="Arial"/>
                <a:ea typeface="Arial"/>
                <a:cs typeface="Arial"/>
                <a:sym typeface="Arial"/>
              </a:endParaRPr>
            </a:p>
          </p:txBody>
        </p:sp>
        <p:sp>
          <p:nvSpPr>
            <p:cNvPr id="480" name="Google Shape;480;p9"/>
            <p:cNvSpPr txBox="1"/>
            <p:nvPr/>
          </p:nvSpPr>
          <p:spPr>
            <a:xfrm>
              <a:off x="3530079" y="2994263"/>
              <a:ext cx="872966" cy="406001"/>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DESIGN</a:t>
              </a:r>
              <a:endParaRPr lang="en-US"/>
            </a:p>
          </p:txBody>
        </p:sp>
      </p:grpSp>
      <p:cxnSp>
        <p:nvCxnSpPr>
          <p:cNvPr id="485" name="Google Shape;485;p9"/>
          <p:cNvCxnSpPr/>
          <p:nvPr/>
        </p:nvCxnSpPr>
        <p:spPr>
          <a:xfrm>
            <a:off x="3557130" y="2985612"/>
            <a:ext cx="8115033" cy="0"/>
          </a:xfrm>
          <a:prstGeom prst="straightConnector1">
            <a:avLst/>
          </a:prstGeom>
          <a:noFill/>
          <a:ln w="9525" cap="flat" cmpd="sng">
            <a:solidFill>
              <a:srgbClr val="747C74"/>
            </a:solidFill>
            <a:prstDash val="dot"/>
            <a:round/>
            <a:headEnd type="none" w="sm" len="sm"/>
            <a:tailEnd type="none" w="sm" len="sm"/>
          </a:ln>
        </p:spPr>
      </p:cxnSp>
      <p:cxnSp>
        <p:nvCxnSpPr>
          <p:cNvPr id="486" name="Google Shape;486;p9"/>
          <p:cNvCxnSpPr/>
          <p:nvPr/>
        </p:nvCxnSpPr>
        <p:spPr>
          <a:xfrm>
            <a:off x="3587603" y="3774821"/>
            <a:ext cx="8086547" cy="7121"/>
          </a:xfrm>
          <a:prstGeom prst="straightConnector1">
            <a:avLst/>
          </a:prstGeom>
          <a:noFill/>
          <a:ln w="9525" cap="flat" cmpd="sng">
            <a:solidFill>
              <a:srgbClr val="747C74"/>
            </a:solidFill>
            <a:prstDash val="dot"/>
            <a:round/>
            <a:headEnd type="none" w="sm" len="sm"/>
            <a:tailEnd type="none" w="sm" len="sm"/>
          </a:ln>
        </p:spPr>
      </p:cxnSp>
      <p:cxnSp>
        <p:nvCxnSpPr>
          <p:cNvPr id="487" name="Google Shape;487;p9"/>
          <p:cNvCxnSpPr/>
          <p:nvPr/>
        </p:nvCxnSpPr>
        <p:spPr>
          <a:xfrm>
            <a:off x="3557130" y="4944587"/>
            <a:ext cx="8157762" cy="0"/>
          </a:xfrm>
          <a:prstGeom prst="straightConnector1">
            <a:avLst/>
          </a:prstGeom>
          <a:noFill/>
          <a:ln w="9525" cap="flat" cmpd="sng">
            <a:solidFill>
              <a:srgbClr val="747C74"/>
            </a:solidFill>
            <a:prstDash val="dot"/>
            <a:round/>
            <a:headEnd type="none" w="sm" len="sm"/>
            <a:tailEnd type="none" w="sm" len="sm"/>
          </a:ln>
        </p:spPr>
      </p:cxnSp>
      <p:cxnSp>
        <p:nvCxnSpPr>
          <p:cNvPr id="36" name="Google Shape;485;p9">
            <a:extLst>
              <a:ext uri="{FF2B5EF4-FFF2-40B4-BE49-F238E27FC236}">
                <a16:creationId xmlns:a16="http://schemas.microsoft.com/office/drawing/2014/main" id="{EAECDCBB-3819-4FCD-A496-F9491BDFD89C}"/>
              </a:ext>
            </a:extLst>
          </p:cNvPr>
          <p:cNvCxnSpPr>
            <a:cxnSpLocks/>
          </p:cNvCxnSpPr>
          <p:nvPr/>
        </p:nvCxnSpPr>
        <p:spPr>
          <a:xfrm>
            <a:off x="3557130" y="1893073"/>
            <a:ext cx="8115033" cy="14242"/>
          </a:xfrm>
          <a:prstGeom prst="straightConnector1">
            <a:avLst/>
          </a:prstGeom>
          <a:noFill/>
          <a:ln w="9525" cap="flat" cmpd="sng">
            <a:solidFill>
              <a:srgbClr val="747C74"/>
            </a:solidFill>
            <a:prstDash val="dot"/>
            <a:round/>
            <a:headEnd type="none" w="sm" len="sm"/>
            <a:tailEnd type="none" w="sm" len="sm"/>
          </a:ln>
        </p:spPr>
      </p:cxnSp>
      <p:sp>
        <p:nvSpPr>
          <p:cNvPr id="7" name="Google Shape;822;p23">
            <a:extLst>
              <a:ext uri="{FF2B5EF4-FFF2-40B4-BE49-F238E27FC236}">
                <a16:creationId xmlns:a16="http://schemas.microsoft.com/office/drawing/2014/main" id="{BE7F7455-B913-4524-B9A1-CFE51EA4FDC0}"/>
              </a:ext>
            </a:extLst>
          </p:cNvPr>
          <p:cNvSpPr txBox="1">
            <a:spLocks/>
          </p:cNvSpPr>
          <p:nvPr/>
        </p:nvSpPr>
        <p:spPr>
          <a:xfrm>
            <a:off x="332047" y="370532"/>
            <a:ext cx="9922081" cy="1090421"/>
          </a:xfrm>
          <a:prstGeom prst="rect">
            <a:avLst/>
          </a:prstGeom>
          <a:noFill/>
          <a:ln>
            <a:noFill/>
          </a:ln>
        </p:spPr>
        <p:txBody>
          <a:bodyPr spcFirstLastPara="1" wrap="square" lIns="91425" tIns="45700" rIns="91425" bIns="45700" anchor="t" anchorCtr="0">
            <a:normAutofit fontScale="97500"/>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3600"/>
              <a:buFont typeface="PT Serif"/>
              <a:buNone/>
              <a:defRPr sz="3600" b="0" i="0" u="none" strike="noStrike" cap="none">
                <a:solidFill>
                  <a:schemeClr val="dk1"/>
                </a:solidFill>
                <a:latin typeface="PT Serif"/>
                <a:ea typeface="PT Serif"/>
                <a:cs typeface="PT Serif"/>
                <a:sym typeface="PT Serif"/>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ct val="100000"/>
            </a:pPr>
            <a:r>
              <a:rPr lang="en-US" sz="3300"/>
              <a:t>Sprint 6 will focus on </a:t>
            </a:r>
          </a:p>
        </p:txBody>
      </p:sp>
      <p:sp>
        <p:nvSpPr>
          <p:cNvPr id="15" name="TextBox 14">
            <a:extLst>
              <a:ext uri="{FF2B5EF4-FFF2-40B4-BE49-F238E27FC236}">
                <a16:creationId xmlns:a16="http://schemas.microsoft.com/office/drawing/2014/main" id="{7CB18294-8481-4276-8B40-97E3110A50BA}"/>
              </a:ext>
            </a:extLst>
          </p:cNvPr>
          <p:cNvSpPr txBox="1"/>
          <p:nvPr/>
        </p:nvSpPr>
        <p:spPr>
          <a:xfrm>
            <a:off x="236548" y="2625511"/>
            <a:ext cx="2790863" cy="552932"/>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indent="-355600">
              <a:lnSpc>
                <a:spcPct val="90000"/>
              </a:lnSpc>
              <a:spcBef>
                <a:spcPts val="1000"/>
              </a:spcBef>
              <a:buClr>
                <a:schemeClr val="dk2"/>
              </a:buClr>
              <a:buSzPts val="2000"/>
              <a:buChar char="•"/>
              <a:defRPr sz="2000">
                <a:solidFill>
                  <a:schemeClr val="dk2"/>
                </a:solidFill>
                <a:latin typeface="PT Serif"/>
                <a:ea typeface="PT Serif"/>
                <a:cs typeface="PT Serif"/>
              </a:defRPr>
            </a:lvl1pPr>
            <a:lvl2pPr marL="914400" indent="-342900">
              <a:lnSpc>
                <a:spcPct val="90000"/>
              </a:lnSpc>
              <a:spcBef>
                <a:spcPts val="500"/>
              </a:spcBef>
              <a:buClr>
                <a:schemeClr val="dk2"/>
              </a:buClr>
              <a:buSzPts val="1800"/>
              <a:buChar char="•"/>
              <a:defRPr sz="1800">
                <a:solidFill>
                  <a:schemeClr val="dk2"/>
                </a:solidFill>
                <a:latin typeface="PT Serif"/>
                <a:ea typeface="PT Serif"/>
                <a:cs typeface="PT Serif"/>
              </a:defRPr>
            </a:lvl2pPr>
            <a:lvl3pPr marL="1371600" indent="-330200">
              <a:lnSpc>
                <a:spcPct val="90000"/>
              </a:lnSpc>
              <a:spcBef>
                <a:spcPts val="500"/>
              </a:spcBef>
              <a:buClr>
                <a:schemeClr val="dk2"/>
              </a:buClr>
              <a:buSzPts val="1600"/>
              <a:buChar char="•"/>
              <a:defRPr sz="1600">
                <a:solidFill>
                  <a:schemeClr val="dk2"/>
                </a:solidFill>
                <a:latin typeface="PT Serif"/>
                <a:ea typeface="PT Serif"/>
                <a:cs typeface="PT Serif"/>
              </a:defRPr>
            </a:lvl3pPr>
            <a:lvl4pPr marL="1828800" indent="-317500">
              <a:lnSpc>
                <a:spcPct val="90000"/>
              </a:lnSpc>
              <a:spcBef>
                <a:spcPts val="500"/>
              </a:spcBef>
              <a:buClr>
                <a:schemeClr val="dk2"/>
              </a:buClr>
              <a:buSzPts val="1400"/>
              <a:buChar char="•"/>
              <a:defRPr>
                <a:solidFill>
                  <a:schemeClr val="dk2"/>
                </a:solidFill>
                <a:latin typeface="PT Serif"/>
                <a:ea typeface="PT Serif"/>
                <a:cs typeface="PT Serif"/>
              </a:defRPr>
            </a:lvl4pPr>
            <a:lvl5pPr marL="2286000" indent="-317500">
              <a:lnSpc>
                <a:spcPct val="90000"/>
              </a:lnSpc>
              <a:spcBef>
                <a:spcPts val="500"/>
              </a:spcBef>
              <a:buClr>
                <a:schemeClr val="dk2"/>
              </a:buClr>
              <a:buSzPts val="1400"/>
              <a:buChar char="•"/>
              <a:defRPr>
                <a:solidFill>
                  <a:schemeClr val="dk2"/>
                </a:solidFill>
                <a:latin typeface="PT Serif"/>
                <a:ea typeface="PT Serif"/>
                <a:cs typeface="PT Serif"/>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pPr marL="101600" indent="0">
              <a:buNone/>
            </a:pPr>
            <a:r>
              <a:rPr lang="en-GB" sz="1200"/>
              <a:t>Stories subject to change during Sprint planning</a:t>
            </a:r>
          </a:p>
        </p:txBody>
      </p:sp>
      <p:sp>
        <p:nvSpPr>
          <p:cNvPr id="29" name="Google Shape;482;p9">
            <a:extLst>
              <a:ext uri="{FF2B5EF4-FFF2-40B4-BE49-F238E27FC236}">
                <a16:creationId xmlns:a16="http://schemas.microsoft.com/office/drawing/2014/main" id="{9EDE1D44-C442-44A3-A246-C666D0FC9506}"/>
              </a:ext>
            </a:extLst>
          </p:cNvPr>
          <p:cNvSpPr txBox="1"/>
          <p:nvPr/>
        </p:nvSpPr>
        <p:spPr>
          <a:xfrm>
            <a:off x="4825717" y="3120495"/>
            <a:ext cx="6083811" cy="430887"/>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sz="900">
                <a:latin typeface="PT Serif"/>
              </a:rPr>
              <a:t>CC: High Fidelity Journey Map</a:t>
            </a:r>
          </a:p>
          <a:p>
            <a:pPr marL="228600" indent="-228600">
              <a:spcBef>
                <a:spcPts val="600"/>
              </a:spcBef>
              <a:buClr>
                <a:srgbClr val="747C74"/>
              </a:buClr>
              <a:buSzPts val="1200"/>
              <a:buAutoNum type="alphaUcPeriod"/>
            </a:pPr>
            <a:r>
              <a:rPr lang="en-US" sz="900">
                <a:latin typeface="PT Serif"/>
              </a:rPr>
              <a:t>CC: Phased design roadmap</a:t>
            </a:r>
          </a:p>
        </p:txBody>
      </p:sp>
      <p:sp>
        <p:nvSpPr>
          <p:cNvPr id="30" name="Google Shape;482;p9">
            <a:extLst>
              <a:ext uri="{FF2B5EF4-FFF2-40B4-BE49-F238E27FC236}">
                <a16:creationId xmlns:a16="http://schemas.microsoft.com/office/drawing/2014/main" id="{F5E6A857-939B-428F-8E38-79E7432F9239}"/>
              </a:ext>
            </a:extLst>
          </p:cNvPr>
          <p:cNvSpPr txBox="1"/>
          <p:nvPr/>
        </p:nvSpPr>
        <p:spPr>
          <a:xfrm>
            <a:off x="4825717" y="3904514"/>
            <a:ext cx="6083811" cy="861774"/>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sz="900">
                <a:latin typeface="PT Serif"/>
              </a:rPr>
              <a:t>1095-B: Post Staging refinements &amp; UAT</a:t>
            </a:r>
          </a:p>
          <a:p>
            <a:pPr marL="228600" indent="-228600">
              <a:spcBef>
                <a:spcPts val="600"/>
              </a:spcBef>
              <a:buClr>
                <a:srgbClr val="747C74"/>
              </a:buClr>
              <a:buSzPts val="1200"/>
              <a:buAutoNum type="alphaUcPeriod"/>
            </a:pPr>
            <a:r>
              <a:rPr lang="en-US" sz="900">
                <a:latin typeface="PT Serif"/>
              </a:rPr>
              <a:t>CC: </a:t>
            </a:r>
            <a:r>
              <a:rPr lang="en-US" sz="900"/>
              <a:t>Tech discovery to assess complexity and feasibility</a:t>
            </a:r>
            <a:endParaRPr lang="en-US"/>
          </a:p>
          <a:p>
            <a:pPr marL="228600" indent="-228600">
              <a:spcBef>
                <a:spcPts val="600"/>
              </a:spcBef>
              <a:buClr>
                <a:srgbClr val="747C74"/>
              </a:buClr>
              <a:buSzPts val="1200"/>
              <a:buAutoNum type="alphaUcPeriod"/>
            </a:pPr>
            <a:r>
              <a:rPr lang="en-US" sz="900"/>
              <a:t>CC: Current state high level architecture</a:t>
            </a:r>
          </a:p>
          <a:p>
            <a:pPr marL="228600" indent="-228600">
              <a:spcBef>
                <a:spcPts val="600"/>
              </a:spcBef>
              <a:buClr>
                <a:srgbClr val="747C74"/>
              </a:buClr>
              <a:buSzPts val="1200"/>
              <a:buAutoNum type="alphaUcPeriod"/>
            </a:pPr>
            <a:r>
              <a:rPr lang="en-US" sz="900">
                <a:latin typeface="PT Serif"/>
              </a:rPr>
              <a:t>CC: Phased tech roadmap</a:t>
            </a:r>
          </a:p>
        </p:txBody>
      </p:sp>
      <p:sp>
        <p:nvSpPr>
          <p:cNvPr id="6" name="Google Shape;693;p20">
            <a:extLst>
              <a:ext uri="{FF2B5EF4-FFF2-40B4-BE49-F238E27FC236}">
                <a16:creationId xmlns:a16="http://schemas.microsoft.com/office/drawing/2014/main" id="{B55CE2C2-56AC-47ED-99D5-58725C3B3F89}"/>
              </a:ext>
            </a:extLst>
          </p:cNvPr>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9</a:t>
            </a:fld>
            <a:endParaRPr>
              <a:latin typeface="Source Sans Pro"/>
              <a:ea typeface="Source Sans Pro"/>
              <a:cs typeface="Source Sans Pro"/>
              <a:sym typeface="Source Sans Pro"/>
            </a:endParaRPr>
          </a:p>
        </p:txBody>
      </p:sp>
      <p:sp>
        <p:nvSpPr>
          <p:cNvPr id="8" name="Google Shape;695;p20">
            <a:extLst>
              <a:ext uri="{FF2B5EF4-FFF2-40B4-BE49-F238E27FC236}">
                <a16:creationId xmlns:a16="http://schemas.microsoft.com/office/drawing/2014/main" id="{A19485DD-AF7A-4DC6-9406-74037D209156}"/>
              </a:ext>
            </a:extLst>
          </p:cNvPr>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p>
            <a:pPr algn="r">
              <a:buClr>
                <a:srgbClr val="747C74"/>
              </a:buClr>
              <a:buSzPts val="1200"/>
            </a:pPr>
            <a:r>
              <a:rPr lang="en-US" sz="1200">
                <a:solidFill>
                  <a:srgbClr val="747C74"/>
                </a:solidFill>
                <a:latin typeface="Source Sans Pro"/>
                <a:ea typeface="Source Sans Pro"/>
                <a:cs typeface="Source Sans Pro"/>
                <a:sym typeface="Source Sans Pro"/>
              </a:rPr>
              <a:t>Preview of Sprint 6</a:t>
            </a:r>
            <a:endParaRPr lang="en-US" sz="18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100157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35"/>
        <p:cNvGrpSpPr/>
        <p:nvPr/>
      </p:nvGrpSpPr>
      <p:grpSpPr>
        <a:xfrm>
          <a:off x="0" y="0"/>
          <a:ext cx="0" cy="0"/>
          <a:chOff x="0" y="0"/>
          <a:chExt cx="0" cy="0"/>
        </a:xfrm>
      </p:grpSpPr>
      <p:sp>
        <p:nvSpPr>
          <p:cNvPr id="241" name="Google Shape;241;p3"/>
          <p:cNvSpPr txBox="1">
            <a:spLocks noGrp="1"/>
          </p:cNvSpPr>
          <p:nvPr>
            <p:ph type="title"/>
          </p:nvPr>
        </p:nvSpPr>
        <p:spPr>
          <a:xfrm>
            <a:off x="320246" y="773318"/>
            <a:ext cx="4334881" cy="3741532"/>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rgbClr val="00385F"/>
              </a:buClr>
              <a:buSzPts val="3200"/>
              <a:buFont typeface="PT Serif"/>
              <a:buNone/>
            </a:pPr>
            <a:r>
              <a:rPr lang="en-US" sz="3200">
                <a:solidFill>
                  <a:srgbClr val="00385F"/>
                </a:solidFill>
              </a:rPr>
              <a:t>At the end of each sprint on Tuesdays, the team will run sprint reviews to showcase the sprint’s work for approval.</a:t>
            </a:r>
            <a:br>
              <a:rPr lang="en-US" sz="3200">
                <a:solidFill>
                  <a:srgbClr val="00385F"/>
                </a:solidFill>
              </a:rPr>
            </a:br>
            <a:r>
              <a:rPr lang="en-US" sz="3200">
                <a:solidFill>
                  <a:srgbClr val="00385F"/>
                </a:solidFill>
              </a:rPr>
              <a:t>The purpose of this meeting is:</a:t>
            </a:r>
            <a:endParaRPr/>
          </a:p>
        </p:txBody>
      </p:sp>
      <p:sp>
        <p:nvSpPr>
          <p:cNvPr id="244" name="Google Shape;244;p3"/>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Source Sans Pro"/>
                <a:sym typeface="Source Sans Pro"/>
              </a:rPr>
              <a:t>04-05 Sprint 5 Demo</a:t>
            </a:r>
            <a:endParaRPr sz="1800" b="0" i="0" u="none" strike="noStrike" cap="none">
              <a:solidFill>
                <a:srgbClr val="747C74"/>
              </a:solidFill>
              <a:latin typeface="Calibri"/>
              <a:ea typeface="Calibri"/>
              <a:cs typeface="Calibri"/>
              <a:sym typeface="Calibri"/>
            </a:endParaRPr>
          </a:p>
        </p:txBody>
      </p:sp>
      <p:sp>
        <p:nvSpPr>
          <p:cNvPr id="245" name="Google Shape;245;p3"/>
          <p:cNvSpPr txBox="1"/>
          <p:nvPr/>
        </p:nvSpPr>
        <p:spPr>
          <a:xfrm>
            <a:off x="327680" y="406667"/>
            <a:ext cx="4246607" cy="366651"/>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2"/>
              </a:buClr>
              <a:buSzPts val="1400"/>
              <a:buFont typeface="Arial"/>
              <a:buNone/>
            </a:pPr>
            <a:r>
              <a:rPr lang="en-US" sz="1400" b="0" i="0" u="none" strike="noStrike" cap="none">
                <a:solidFill>
                  <a:schemeClr val="dk2"/>
                </a:solidFill>
                <a:latin typeface="Source Sans Pro"/>
                <a:ea typeface="Source Sans Pro"/>
                <a:cs typeface="Source Sans Pro"/>
                <a:sym typeface="Source Sans Pro"/>
              </a:rPr>
              <a:t>WELCOME TO THE SPRINT </a:t>
            </a:r>
            <a:r>
              <a:rPr lang="en-US">
                <a:solidFill>
                  <a:schemeClr val="dk2"/>
                </a:solidFill>
                <a:latin typeface="Source Sans Pro"/>
                <a:ea typeface="Source Sans Pro"/>
                <a:cs typeface="Source Sans Pro"/>
                <a:sym typeface="Source Sans Pro"/>
              </a:rPr>
              <a:t>5</a:t>
            </a:r>
            <a:r>
              <a:rPr lang="en-US" sz="1400" b="0" i="0" u="none" strike="noStrike" cap="none">
                <a:solidFill>
                  <a:schemeClr val="dk2"/>
                </a:solidFill>
                <a:latin typeface="Source Sans Pro"/>
                <a:ea typeface="Source Sans Pro"/>
                <a:cs typeface="Source Sans Pro"/>
                <a:sym typeface="Source Sans Pro"/>
              </a:rPr>
              <a:t> DEMO</a:t>
            </a:r>
            <a:endParaRPr>
              <a:solidFill>
                <a:schemeClr val="dk2"/>
              </a:solidFill>
            </a:endParaRPr>
          </a:p>
        </p:txBody>
      </p:sp>
      <p:grpSp>
        <p:nvGrpSpPr>
          <p:cNvPr id="4" name="Group 3">
            <a:extLst>
              <a:ext uri="{FF2B5EF4-FFF2-40B4-BE49-F238E27FC236}">
                <a16:creationId xmlns:a16="http://schemas.microsoft.com/office/drawing/2014/main" id="{E7DEC4A7-87FF-4529-9F52-6192C114B9EF}"/>
              </a:ext>
            </a:extLst>
          </p:cNvPr>
          <p:cNvGrpSpPr/>
          <p:nvPr/>
        </p:nvGrpSpPr>
        <p:grpSpPr>
          <a:xfrm>
            <a:off x="5638800" y="-7257"/>
            <a:ext cx="6560457" cy="6887028"/>
            <a:chOff x="5638800" y="0"/>
            <a:chExt cx="6560457" cy="6887028"/>
          </a:xfrm>
        </p:grpSpPr>
        <p:grpSp>
          <p:nvGrpSpPr>
            <p:cNvPr id="236" name="Google Shape;236;p3"/>
            <p:cNvGrpSpPr/>
            <p:nvPr/>
          </p:nvGrpSpPr>
          <p:grpSpPr>
            <a:xfrm>
              <a:off x="6094945" y="0"/>
              <a:ext cx="6104312" cy="6887028"/>
              <a:chOff x="5219700" y="0"/>
              <a:chExt cx="6972300" cy="6887028"/>
            </a:xfrm>
          </p:grpSpPr>
          <p:sp>
            <p:nvSpPr>
              <p:cNvPr id="237" name="Google Shape;237;p3"/>
              <p:cNvSpPr/>
              <p:nvPr/>
            </p:nvSpPr>
            <p:spPr>
              <a:xfrm>
                <a:off x="5219700" y="2286000"/>
                <a:ext cx="6972300" cy="2228850"/>
              </a:xfrm>
              <a:prstGeom prst="rect">
                <a:avLst/>
              </a:prstGeom>
              <a:solidFill>
                <a:srgbClr val="B9CCE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rgbClr val="B9CCE2"/>
                  </a:solidFill>
                  <a:latin typeface="Arial"/>
                  <a:ea typeface="Arial"/>
                  <a:cs typeface="Arial"/>
                  <a:sym typeface="Arial"/>
                </a:endParaRPr>
              </a:p>
            </p:txBody>
          </p:sp>
          <p:grpSp>
            <p:nvGrpSpPr>
              <p:cNvPr id="238" name="Google Shape;238;p3"/>
              <p:cNvGrpSpPr/>
              <p:nvPr/>
            </p:nvGrpSpPr>
            <p:grpSpPr>
              <a:xfrm>
                <a:off x="5219700" y="0"/>
                <a:ext cx="6972300" cy="6887028"/>
                <a:chOff x="5219700" y="0"/>
                <a:chExt cx="6972300" cy="6682968"/>
              </a:xfrm>
            </p:grpSpPr>
            <p:sp>
              <p:nvSpPr>
                <p:cNvPr id="239" name="Google Shape;239;p3"/>
                <p:cNvSpPr/>
                <p:nvPr/>
              </p:nvSpPr>
              <p:spPr>
                <a:xfrm>
                  <a:off x="5244567" y="4375777"/>
                  <a:ext cx="6939144" cy="2307191"/>
                </a:xfrm>
                <a:prstGeom prst="rect">
                  <a:avLst/>
                </a:prstGeom>
                <a:solidFill>
                  <a:srgbClr val="88A8C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rgbClr val="B9CCE2"/>
                    </a:solidFill>
                    <a:latin typeface="Arial"/>
                    <a:ea typeface="Arial"/>
                    <a:cs typeface="Arial"/>
                    <a:sym typeface="Arial"/>
                  </a:endParaRPr>
                </a:p>
              </p:txBody>
            </p:sp>
            <p:sp>
              <p:nvSpPr>
                <p:cNvPr id="240" name="Google Shape;240;p3"/>
                <p:cNvSpPr/>
                <p:nvPr/>
              </p:nvSpPr>
              <p:spPr>
                <a:xfrm>
                  <a:off x="5219700" y="0"/>
                  <a:ext cx="6972300" cy="2228850"/>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rgbClr val="B9CCE2"/>
                    </a:solidFill>
                    <a:latin typeface="Arial"/>
                    <a:ea typeface="Arial"/>
                    <a:cs typeface="Arial"/>
                    <a:sym typeface="Arial"/>
                  </a:endParaRPr>
                </a:p>
              </p:txBody>
            </p:sp>
          </p:grpSp>
        </p:grpSp>
        <p:sp>
          <p:nvSpPr>
            <p:cNvPr id="3" name="Rectangle 2">
              <a:extLst>
                <a:ext uri="{FF2B5EF4-FFF2-40B4-BE49-F238E27FC236}">
                  <a16:creationId xmlns:a16="http://schemas.microsoft.com/office/drawing/2014/main" id="{E9193AB1-7F31-4DA8-91B4-725C6981F2BF}"/>
                </a:ext>
              </a:extLst>
            </p:cNvPr>
            <p:cNvSpPr/>
            <p:nvPr/>
          </p:nvSpPr>
          <p:spPr>
            <a:xfrm>
              <a:off x="5638800" y="3629"/>
              <a:ext cx="493486" cy="686525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3" name="Google Shape;243;p3"/>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chemeClr val="lt1"/>
              </a:buClr>
              <a:buSzPts val="1200"/>
              <a:buFont typeface="Source Sans Pro"/>
              <a:buNone/>
            </a:pPr>
            <a:r>
              <a:rPr lang="en-US" sz="1200" b="0" i="0" u="none" strike="noStrike" cap="none">
                <a:solidFill>
                  <a:schemeClr val="lt1"/>
                </a:solidFill>
                <a:latin typeface="Source Sans Pro"/>
                <a:ea typeface="Source Sans Pro"/>
                <a:cs typeface="Source Sans Pro"/>
                <a:sym typeface="Source Sans Pro"/>
              </a:rPr>
              <a:t>Introduction</a:t>
            </a:r>
            <a:endParaRPr sz="1800" b="0" i="0" u="none" strike="noStrike" cap="none">
              <a:solidFill>
                <a:schemeClr val="lt1"/>
              </a:solidFill>
              <a:latin typeface="Calibri"/>
              <a:ea typeface="Calibri"/>
              <a:cs typeface="Calibri"/>
              <a:sym typeface="Calibri"/>
            </a:endParaRPr>
          </a:p>
        </p:txBody>
      </p:sp>
      <p:pic>
        <p:nvPicPr>
          <p:cNvPr id="246" name="Google Shape;246;p3"/>
          <p:cNvPicPr preferRelativeResize="0"/>
          <p:nvPr/>
        </p:nvPicPr>
        <p:blipFill rotWithShape="1">
          <a:blip r:embed="rId3">
            <a:alphaModFix/>
          </a:blip>
          <a:srcRect/>
          <a:stretch/>
        </p:blipFill>
        <p:spPr>
          <a:xfrm>
            <a:off x="10779955" y="664139"/>
            <a:ext cx="964943" cy="947280"/>
          </a:xfrm>
          <a:prstGeom prst="rect">
            <a:avLst/>
          </a:prstGeom>
          <a:noFill/>
          <a:ln>
            <a:noFill/>
          </a:ln>
        </p:spPr>
      </p:pic>
      <p:pic>
        <p:nvPicPr>
          <p:cNvPr id="247" name="Google Shape;247;p3"/>
          <p:cNvPicPr preferRelativeResize="0"/>
          <p:nvPr/>
        </p:nvPicPr>
        <p:blipFill rotWithShape="1">
          <a:blip r:embed="rId4">
            <a:alphaModFix/>
          </a:blip>
          <a:srcRect/>
          <a:stretch/>
        </p:blipFill>
        <p:spPr>
          <a:xfrm>
            <a:off x="10778416" y="3014524"/>
            <a:ext cx="1023366" cy="967026"/>
          </a:xfrm>
          <a:prstGeom prst="rect">
            <a:avLst/>
          </a:prstGeom>
          <a:noFill/>
          <a:ln>
            <a:noFill/>
          </a:ln>
        </p:spPr>
      </p:pic>
      <p:pic>
        <p:nvPicPr>
          <p:cNvPr id="248" name="Google Shape;248;p3"/>
          <p:cNvPicPr preferRelativeResize="0"/>
          <p:nvPr/>
        </p:nvPicPr>
        <p:blipFill rotWithShape="1">
          <a:blip r:embed="rId5">
            <a:alphaModFix/>
          </a:blip>
          <a:srcRect/>
          <a:stretch/>
        </p:blipFill>
        <p:spPr>
          <a:xfrm>
            <a:off x="10922884" y="5224437"/>
            <a:ext cx="850016" cy="833846"/>
          </a:xfrm>
          <a:prstGeom prst="rect">
            <a:avLst/>
          </a:prstGeom>
          <a:noFill/>
          <a:ln>
            <a:noFill/>
          </a:ln>
        </p:spPr>
      </p:pic>
      <p:grpSp>
        <p:nvGrpSpPr>
          <p:cNvPr id="249" name="Google Shape;249;p3"/>
          <p:cNvGrpSpPr/>
          <p:nvPr/>
        </p:nvGrpSpPr>
        <p:grpSpPr>
          <a:xfrm>
            <a:off x="6547644" y="870177"/>
            <a:ext cx="4105095" cy="1367695"/>
            <a:chOff x="409856" y="3859645"/>
            <a:chExt cx="4105095" cy="1367695"/>
          </a:xfrm>
        </p:grpSpPr>
        <p:sp>
          <p:nvSpPr>
            <p:cNvPr id="250" name="Google Shape;250;p3"/>
            <p:cNvSpPr txBox="1"/>
            <p:nvPr/>
          </p:nvSpPr>
          <p:spPr>
            <a:xfrm>
              <a:off x="409856" y="3859645"/>
              <a:ext cx="404166" cy="535464"/>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303A46"/>
                </a:buClr>
                <a:buSzPts val="4800"/>
                <a:buFont typeface="PT Serif"/>
                <a:buNone/>
              </a:pPr>
              <a:r>
                <a:rPr lang="en-US" sz="4000" b="1" i="0" u="none" strike="noStrike" cap="none">
                  <a:solidFill>
                    <a:schemeClr val="dk2"/>
                  </a:solidFill>
                  <a:latin typeface="PT Serif"/>
                  <a:ea typeface="PT Serif"/>
                  <a:cs typeface="PT Serif"/>
                  <a:sym typeface="PT Serif"/>
                </a:rPr>
                <a:t>1</a:t>
              </a:r>
              <a:endParaRPr sz="4000" b="0" i="0" u="none" strike="noStrike" cap="none">
                <a:solidFill>
                  <a:srgbClr val="000000"/>
                </a:solidFill>
                <a:latin typeface="Arial"/>
                <a:ea typeface="Arial"/>
                <a:cs typeface="Arial"/>
                <a:sym typeface="Arial"/>
              </a:endParaRPr>
            </a:p>
          </p:txBody>
        </p:sp>
        <p:sp>
          <p:nvSpPr>
            <p:cNvPr id="251" name="Google Shape;251;p3"/>
            <p:cNvSpPr txBox="1"/>
            <p:nvPr/>
          </p:nvSpPr>
          <p:spPr>
            <a:xfrm>
              <a:off x="1011985" y="3891395"/>
              <a:ext cx="3502966" cy="133594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2400"/>
                <a:buFont typeface="PT Serif"/>
                <a:buNone/>
              </a:pPr>
              <a:r>
                <a:rPr lang="en-US" sz="1800" b="0" i="0" u="none" strike="noStrike" cap="none">
                  <a:solidFill>
                    <a:schemeClr val="dk2"/>
                  </a:solidFill>
                  <a:latin typeface="PT Serif"/>
                  <a:ea typeface="PT Serif"/>
                  <a:cs typeface="PT Serif"/>
                  <a:sym typeface="PT Serif"/>
                </a:rPr>
                <a:t>To demo the accomplishments or functionality that was built over the past sprint</a:t>
              </a:r>
              <a:endParaRPr sz="1800" b="0" i="0" u="none" strike="noStrike" cap="none">
                <a:solidFill>
                  <a:srgbClr val="000000"/>
                </a:solidFill>
                <a:latin typeface="Arial"/>
                <a:ea typeface="Arial"/>
                <a:cs typeface="Arial"/>
                <a:sym typeface="Arial"/>
              </a:endParaRPr>
            </a:p>
          </p:txBody>
        </p:sp>
      </p:grpSp>
      <p:grpSp>
        <p:nvGrpSpPr>
          <p:cNvPr id="252" name="Google Shape;252;p3"/>
          <p:cNvGrpSpPr/>
          <p:nvPr/>
        </p:nvGrpSpPr>
        <p:grpSpPr>
          <a:xfrm>
            <a:off x="6547644" y="3218368"/>
            <a:ext cx="3875559" cy="1119574"/>
            <a:chOff x="4391305" y="3853294"/>
            <a:chExt cx="3875559" cy="1119574"/>
          </a:xfrm>
        </p:grpSpPr>
        <p:sp>
          <p:nvSpPr>
            <p:cNvPr id="253" name="Google Shape;253;p3"/>
            <p:cNvSpPr txBox="1"/>
            <p:nvPr/>
          </p:nvSpPr>
          <p:spPr>
            <a:xfrm>
              <a:off x="4986148" y="3895321"/>
              <a:ext cx="3280716" cy="1077547"/>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2400"/>
                <a:buFont typeface="PT Serif"/>
                <a:buNone/>
              </a:pPr>
              <a:r>
                <a:rPr lang="en-US" sz="1800" b="0" i="0" u="none" strike="noStrike" cap="none">
                  <a:solidFill>
                    <a:schemeClr val="dk2"/>
                  </a:solidFill>
                  <a:latin typeface="PT Serif"/>
                  <a:ea typeface="PT Serif"/>
                  <a:cs typeface="PT Serif"/>
                  <a:sym typeface="PT Serif"/>
                </a:rPr>
                <a:t>To get feedback and insights early and often</a:t>
              </a:r>
              <a:endParaRPr sz="1800" b="0" i="0" u="none" strike="noStrike" cap="none">
                <a:solidFill>
                  <a:srgbClr val="000000"/>
                </a:solidFill>
                <a:latin typeface="Arial"/>
                <a:ea typeface="Arial"/>
                <a:cs typeface="Arial"/>
                <a:sym typeface="Arial"/>
              </a:endParaRPr>
            </a:p>
          </p:txBody>
        </p:sp>
        <p:sp>
          <p:nvSpPr>
            <p:cNvPr id="254" name="Google Shape;254;p3"/>
            <p:cNvSpPr txBox="1"/>
            <p:nvPr/>
          </p:nvSpPr>
          <p:spPr>
            <a:xfrm>
              <a:off x="4391305" y="3853294"/>
              <a:ext cx="404166" cy="535464"/>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303A46"/>
                </a:buClr>
                <a:buSzPts val="4800"/>
                <a:buFont typeface="PT Serif"/>
                <a:buNone/>
              </a:pPr>
              <a:r>
                <a:rPr lang="en-US" sz="4000" b="1" i="0" u="none" strike="noStrike" cap="none">
                  <a:solidFill>
                    <a:schemeClr val="dk2"/>
                  </a:solidFill>
                  <a:latin typeface="PT Serif"/>
                  <a:ea typeface="PT Serif"/>
                  <a:cs typeface="PT Serif"/>
                  <a:sym typeface="PT Serif"/>
                </a:rPr>
                <a:t>2</a:t>
              </a:r>
              <a:endParaRPr sz="4000" b="0" i="0" u="none" strike="noStrike" cap="none">
                <a:solidFill>
                  <a:srgbClr val="000000"/>
                </a:solidFill>
                <a:latin typeface="Arial"/>
                <a:ea typeface="Arial"/>
                <a:cs typeface="Arial"/>
                <a:sym typeface="Arial"/>
              </a:endParaRPr>
            </a:p>
          </p:txBody>
        </p:sp>
      </p:grpSp>
      <p:grpSp>
        <p:nvGrpSpPr>
          <p:cNvPr id="255" name="Google Shape;255;p3"/>
          <p:cNvGrpSpPr/>
          <p:nvPr/>
        </p:nvGrpSpPr>
        <p:grpSpPr>
          <a:xfrm>
            <a:off x="6547644" y="5301431"/>
            <a:ext cx="3757708" cy="1471024"/>
            <a:chOff x="8588654" y="3815193"/>
            <a:chExt cx="3757708" cy="1471024"/>
          </a:xfrm>
        </p:grpSpPr>
        <p:sp>
          <p:nvSpPr>
            <p:cNvPr id="256" name="Google Shape;256;p3"/>
            <p:cNvSpPr txBox="1"/>
            <p:nvPr/>
          </p:nvSpPr>
          <p:spPr>
            <a:xfrm>
              <a:off x="9179946" y="3857221"/>
              <a:ext cx="3166416" cy="1428996"/>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2400"/>
                <a:buFont typeface="PT Serif"/>
                <a:buNone/>
              </a:pPr>
              <a:r>
                <a:rPr lang="en-US" sz="1800" b="0" i="0" u="none" strike="noStrike" cap="none">
                  <a:solidFill>
                    <a:srgbClr val="202120"/>
                  </a:solidFill>
                  <a:latin typeface="PT Serif"/>
                  <a:ea typeface="PT Serif"/>
                  <a:cs typeface="PT Serif"/>
                  <a:sym typeface="PT Serif"/>
                </a:rPr>
                <a:t>To create transparency for anyone interested on the product and progress</a:t>
              </a:r>
              <a:endParaRPr sz="1800" b="0" i="0" u="none" strike="noStrike" cap="none">
                <a:solidFill>
                  <a:srgbClr val="202120"/>
                </a:solidFill>
                <a:latin typeface="Arial"/>
                <a:ea typeface="Arial"/>
                <a:cs typeface="Arial"/>
                <a:sym typeface="Arial"/>
              </a:endParaRPr>
            </a:p>
          </p:txBody>
        </p:sp>
        <p:sp>
          <p:nvSpPr>
            <p:cNvPr id="257" name="Google Shape;257;p3"/>
            <p:cNvSpPr txBox="1"/>
            <p:nvPr/>
          </p:nvSpPr>
          <p:spPr>
            <a:xfrm>
              <a:off x="8588654" y="3815193"/>
              <a:ext cx="404166" cy="535464"/>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303A46"/>
                </a:buClr>
                <a:buSzPts val="4800"/>
                <a:buFont typeface="PT Serif"/>
                <a:buNone/>
              </a:pPr>
              <a:r>
                <a:rPr lang="en-US" sz="4000" b="1" i="0" u="none" strike="noStrike" cap="none">
                  <a:solidFill>
                    <a:srgbClr val="202120"/>
                  </a:solidFill>
                  <a:latin typeface="PT Serif"/>
                  <a:ea typeface="PT Serif"/>
                  <a:cs typeface="PT Serif"/>
                  <a:sym typeface="PT Serif"/>
                </a:rPr>
                <a:t>3</a:t>
              </a:r>
              <a:endParaRPr sz="4000" b="0" i="0" u="none" strike="noStrike" cap="none">
                <a:solidFill>
                  <a:srgbClr val="202120"/>
                </a:solidFill>
                <a:latin typeface="Arial"/>
                <a:ea typeface="Arial"/>
                <a:cs typeface="Arial"/>
                <a:sym typeface="Arial"/>
              </a:endParaRPr>
            </a:p>
          </p:txBody>
        </p:sp>
      </p:grpSp>
      <p:sp>
        <p:nvSpPr>
          <p:cNvPr id="242" name="Google Shape;242;p3"/>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solidFill>
                  <a:schemeClr val="lt1"/>
                </a:solidFill>
                <a:latin typeface="Source Sans Pro"/>
                <a:ea typeface="Source Sans Pro"/>
                <a:cs typeface="Source Sans Pro"/>
                <a:sym typeface="Source Sans Pro"/>
              </a:rPr>
              <a:t>3</a:t>
            </a:fld>
            <a:endParaRPr>
              <a:solidFill>
                <a:schemeClr val="lt1"/>
              </a:solidFill>
              <a:latin typeface="Source Sans Pro"/>
              <a:ea typeface="Source Sans Pro"/>
              <a:cs typeface="Source Sans Pro"/>
              <a:sym typeface="Source Sans Pro"/>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34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1E20C5D-5BD2-4B21-955F-CDE71A6075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3"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91E20C5D-5BD2-4B21-955F-CDE71A6075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0" name="Google Shape;396;p7">
            <a:extLst>
              <a:ext uri="{FF2B5EF4-FFF2-40B4-BE49-F238E27FC236}">
                <a16:creationId xmlns:a16="http://schemas.microsoft.com/office/drawing/2014/main" id="{23C0FF3C-861F-42A1-BD37-345295530B62}"/>
              </a:ext>
            </a:extLst>
          </p:cNvPr>
          <p:cNvCxnSpPr/>
          <p:nvPr/>
        </p:nvCxnSpPr>
        <p:spPr>
          <a:xfrm>
            <a:off x="11498181" y="1746163"/>
            <a:ext cx="0" cy="4345725"/>
          </a:xfrm>
          <a:prstGeom prst="straightConnector1">
            <a:avLst/>
          </a:prstGeom>
          <a:noFill/>
          <a:ln w="9525" cap="flat" cmpd="sng">
            <a:solidFill>
              <a:srgbClr val="7F7F7F"/>
            </a:solidFill>
            <a:prstDash val="solid"/>
            <a:round/>
            <a:headEnd type="none" w="sm" len="sm"/>
            <a:tailEnd type="none" w="sm" len="sm"/>
          </a:ln>
        </p:spPr>
      </p:cxnSp>
      <p:sp>
        <p:nvSpPr>
          <p:cNvPr id="343" name="Google Shape;343;p7"/>
          <p:cNvSpPr/>
          <p:nvPr/>
        </p:nvSpPr>
        <p:spPr>
          <a:xfrm>
            <a:off x="9541417" y="1755202"/>
            <a:ext cx="1942295" cy="4472388"/>
          </a:xfrm>
          <a:prstGeom prst="rect">
            <a:avLst/>
          </a:prstGeom>
          <a:solidFill>
            <a:srgbClr val="D3E9FF">
              <a:alpha val="4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900"/>
              <a:buFont typeface="Calibri"/>
              <a:buNone/>
            </a:pPr>
            <a:endParaRPr sz="900" b="0" i="0" u="none" strike="noStrike" cap="none">
              <a:solidFill>
                <a:srgbClr val="FDFFFD"/>
              </a:solidFill>
              <a:latin typeface="PT Serif"/>
              <a:ea typeface="PT Serif"/>
              <a:cs typeface="PT Serif"/>
              <a:sym typeface="PT Serif"/>
            </a:endParaRPr>
          </a:p>
        </p:txBody>
      </p:sp>
      <p:sp>
        <p:nvSpPr>
          <p:cNvPr id="344" name="Google Shape;344;p7"/>
          <p:cNvSpPr txBox="1">
            <a:spLocks noGrp="1"/>
          </p:cNvSpPr>
          <p:nvPr>
            <p:ph type="title"/>
          </p:nvPr>
        </p:nvSpPr>
        <p:spPr>
          <a:xfrm>
            <a:off x="287025" y="380189"/>
            <a:ext cx="11353800" cy="746983"/>
          </a:xfrm>
          <a:prstGeom prst="rect">
            <a:avLst/>
          </a:prstGeom>
          <a:noFill/>
          <a:ln>
            <a:noFill/>
          </a:ln>
        </p:spPr>
        <p:txBody>
          <a:bodyPr spcFirstLastPara="1" wrap="square" lIns="91425" tIns="45700" rIns="91425" bIns="45700" anchor="t" anchorCtr="0">
            <a:normAutofit/>
          </a:bodyPr>
          <a:lstStyle/>
          <a:p>
            <a:r>
              <a:rPr lang="en-US"/>
              <a:t>Sprint 6 will run April 6 to April 20th</a:t>
            </a:r>
          </a:p>
        </p:txBody>
      </p:sp>
      <p:sp>
        <p:nvSpPr>
          <p:cNvPr id="345" name="Google Shape;345;p7"/>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30</a:t>
            </a:fld>
            <a:endParaRPr>
              <a:latin typeface="Source Sans Pro"/>
              <a:ea typeface="Source Sans Pro"/>
              <a:cs typeface="Source Sans Pro"/>
              <a:sym typeface="Source Sans Pro"/>
            </a:endParaRPr>
          </a:p>
        </p:txBody>
      </p:sp>
      <p:sp>
        <p:nvSpPr>
          <p:cNvPr id="358" name="Google Shape;358;p7"/>
          <p:cNvSpPr txBox="1"/>
          <p:nvPr/>
        </p:nvSpPr>
        <p:spPr>
          <a:xfrm>
            <a:off x="1409511" y="1805982"/>
            <a:ext cx="65808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4: 02/09 – 02/16</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59" name="Google Shape;359;p7"/>
          <p:cNvSpPr txBox="1"/>
          <p:nvPr/>
        </p:nvSpPr>
        <p:spPr>
          <a:xfrm>
            <a:off x="2480565" y="1833414"/>
            <a:ext cx="66215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5: 02/16 – 02/23</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0" name="Google Shape;360;p7"/>
          <p:cNvSpPr txBox="1"/>
          <p:nvPr/>
        </p:nvSpPr>
        <p:spPr>
          <a:xfrm>
            <a:off x="3525674" y="1823730"/>
            <a:ext cx="67452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6: 02/23 – 03/02</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1" name="Google Shape;361;p7"/>
          <p:cNvSpPr txBox="1"/>
          <p:nvPr/>
        </p:nvSpPr>
        <p:spPr>
          <a:xfrm>
            <a:off x="4616209" y="1815352"/>
            <a:ext cx="616179"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7: 03/02- 03/09</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2" name="Google Shape;362;p7"/>
          <p:cNvSpPr txBox="1"/>
          <p:nvPr/>
        </p:nvSpPr>
        <p:spPr>
          <a:xfrm>
            <a:off x="6760194" y="1824270"/>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9: 03/16 – 03/23</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3" name="Google Shape;363;p7"/>
          <p:cNvSpPr txBox="1"/>
          <p:nvPr/>
        </p:nvSpPr>
        <p:spPr>
          <a:xfrm>
            <a:off x="5677222" y="1805982"/>
            <a:ext cx="66763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8: 03/09 – 03/16</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6" name="Google Shape;366;p7"/>
          <p:cNvSpPr txBox="1"/>
          <p:nvPr/>
        </p:nvSpPr>
        <p:spPr>
          <a:xfrm>
            <a:off x="1362215"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2</a:t>
            </a:r>
            <a:endParaRPr/>
          </a:p>
        </p:txBody>
      </p:sp>
      <p:sp>
        <p:nvSpPr>
          <p:cNvPr id="367" name="Google Shape;367;p7"/>
          <p:cNvSpPr txBox="1"/>
          <p:nvPr/>
        </p:nvSpPr>
        <p:spPr>
          <a:xfrm>
            <a:off x="3512389"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3</a:t>
            </a:r>
            <a:endParaRPr/>
          </a:p>
        </p:txBody>
      </p:sp>
      <p:sp>
        <p:nvSpPr>
          <p:cNvPr id="368" name="Google Shape;368;p7"/>
          <p:cNvSpPr txBox="1"/>
          <p:nvPr/>
        </p:nvSpPr>
        <p:spPr>
          <a:xfrm>
            <a:off x="5595468"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4</a:t>
            </a:r>
            <a:endParaRPr/>
          </a:p>
        </p:txBody>
      </p:sp>
      <p:sp>
        <p:nvSpPr>
          <p:cNvPr id="369" name="Google Shape;369;p7"/>
          <p:cNvSpPr txBox="1"/>
          <p:nvPr/>
        </p:nvSpPr>
        <p:spPr>
          <a:xfrm>
            <a:off x="7594514" y="1822925"/>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0: 03/23 – 03/30</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70" name="Google Shape;370;p7"/>
          <p:cNvSpPr txBox="1"/>
          <p:nvPr/>
        </p:nvSpPr>
        <p:spPr>
          <a:xfrm>
            <a:off x="7559976" y="1571003"/>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5</a:t>
            </a:r>
            <a:endParaRPr/>
          </a:p>
        </p:txBody>
      </p:sp>
      <p:sp>
        <p:nvSpPr>
          <p:cNvPr id="371" name="Google Shape;371;p7"/>
          <p:cNvSpPr/>
          <p:nvPr/>
        </p:nvSpPr>
        <p:spPr>
          <a:xfrm>
            <a:off x="1362215" y="4472952"/>
            <a:ext cx="2084815" cy="359180"/>
          </a:xfrm>
          <a:prstGeom prst="rect">
            <a:avLst/>
          </a:prstGeom>
          <a:solidFill>
            <a:schemeClr val="accent6"/>
          </a:solidFill>
          <a:ln>
            <a:noFill/>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POC for data flow</a:t>
            </a:r>
            <a:endParaRPr sz="850" b="0" i="0" u="none" strike="noStrike" cap="none">
              <a:solidFill>
                <a:schemeClr val="accent1"/>
              </a:solidFill>
              <a:latin typeface="Source Sans Pro"/>
              <a:ea typeface="Source Sans Pro"/>
              <a:cs typeface="Source Sans Pro"/>
              <a:sym typeface="Source Sans Pro"/>
            </a:endParaRPr>
          </a:p>
        </p:txBody>
      </p:sp>
      <p:sp>
        <p:nvSpPr>
          <p:cNvPr id="372" name="Google Shape;372;p7"/>
          <p:cNvSpPr/>
          <p:nvPr/>
        </p:nvSpPr>
        <p:spPr>
          <a:xfrm>
            <a:off x="9541333" y="4830550"/>
            <a:ext cx="1930065" cy="353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chemeClr val="accent1"/>
                </a:solidFill>
                <a:latin typeface="Source Sans Pro"/>
                <a:ea typeface="Source Sans Pro"/>
                <a:sym typeface="Source Sans Pro"/>
              </a:rPr>
              <a:t>Tech Integrations</a:t>
            </a:r>
            <a:endParaRPr lang="en-US"/>
          </a:p>
        </p:txBody>
      </p:sp>
      <p:sp>
        <p:nvSpPr>
          <p:cNvPr id="376" name="Google Shape;376;p7"/>
          <p:cNvSpPr/>
          <p:nvPr/>
        </p:nvSpPr>
        <p:spPr>
          <a:xfrm>
            <a:off x="352223" y="2274058"/>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Product &amp; Delivery</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377" name="Google Shape;377;p7"/>
          <p:cNvSpPr/>
          <p:nvPr/>
        </p:nvSpPr>
        <p:spPr>
          <a:xfrm>
            <a:off x="340765" y="4489485"/>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Engineering &amp; Development</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378" name="Google Shape;378;p7"/>
          <p:cNvSpPr txBox="1"/>
          <p:nvPr/>
        </p:nvSpPr>
        <p:spPr>
          <a:xfrm>
            <a:off x="1609778" y="3534714"/>
            <a:ext cx="529394" cy="28713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Voice of Veteran </a:t>
            </a:r>
            <a:endParaRPr sz="900" b="0" i="0" u="none" strike="noStrike" cap="none">
              <a:solidFill>
                <a:srgbClr val="202120"/>
              </a:solidFill>
              <a:latin typeface="PT Serif"/>
              <a:ea typeface="PT Serif"/>
              <a:cs typeface="PT Serif"/>
              <a:sym typeface="PT Serif"/>
            </a:endParaRPr>
          </a:p>
        </p:txBody>
      </p:sp>
      <p:sp>
        <p:nvSpPr>
          <p:cNvPr id="379" name="Google Shape;379;p7"/>
          <p:cNvSpPr txBox="1"/>
          <p:nvPr/>
        </p:nvSpPr>
        <p:spPr>
          <a:xfrm>
            <a:off x="4486869" y="3548205"/>
            <a:ext cx="529394" cy="28713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Voice of Veteran </a:t>
            </a:r>
            <a:endParaRPr sz="900" b="0" i="0" u="none" strike="noStrike" cap="none">
              <a:solidFill>
                <a:srgbClr val="202120"/>
              </a:solidFill>
              <a:latin typeface="PT Serif"/>
              <a:ea typeface="PT Serif"/>
              <a:cs typeface="PT Serif"/>
              <a:sym typeface="PT Serif"/>
            </a:endParaRPr>
          </a:p>
        </p:txBody>
      </p:sp>
      <p:sp>
        <p:nvSpPr>
          <p:cNvPr id="380" name="Google Shape;380;p7"/>
          <p:cNvSpPr/>
          <p:nvPr/>
        </p:nvSpPr>
        <p:spPr>
          <a:xfrm>
            <a:off x="1833327" y="3407811"/>
            <a:ext cx="82296" cy="82576"/>
          </a:xfrm>
          <a:prstGeom prst="ellipse">
            <a:avLst/>
          </a:prstGeom>
          <a:solidFill>
            <a:schemeClr val="dk1"/>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381" name="Google Shape;381;p7"/>
          <p:cNvSpPr/>
          <p:nvPr/>
        </p:nvSpPr>
        <p:spPr>
          <a:xfrm>
            <a:off x="4610378" y="3414950"/>
            <a:ext cx="82296" cy="82576"/>
          </a:xfrm>
          <a:prstGeom prst="ellipse">
            <a:avLst/>
          </a:prstGeom>
          <a:solidFill>
            <a:schemeClr val="dk1"/>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384" name="Google Shape;384;p7"/>
          <p:cNvSpPr/>
          <p:nvPr/>
        </p:nvSpPr>
        <p:spPr>
          <a:xfrm>
            <a:off x="352223" y="3407693"/>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User Experience &amp; Design</a:t>
            </a:r>
            <a:endParaRPr sz="900" b="1" i="0" u="none" strike="noStrike" cap="none">
              <a:solidFill>
                <a:schemeClr val="dk2"/>
              </a:solidFill>
              <a:latin typeface="Source Sans Pro Semibold"/>
              <a:ea typeface="Source Sans Pro Semibold"/>
              <a:cs typeface="Source Sans Pro Semibold"/>
              <a:sym typeface="Source Sans Pro SemiBold"/>
            </a:endParaRPr>
          </a:p>
        </p:txBody>
      </p:sp>
      <p:pic>
        <p:nvPicPr>
          <p:cNvPr id="385" name="Google Shape;385;p7"/>
          <p:cNvPicPr preferRelativeResize="0"/>
          <p:nvPr/>
        </p:nvPicPr>
        <p:blipFill rotWithShape="1">
          <a:blip r:embed="rId7">
            <a:alphaModFix/>
          </a:blip>
          <a:srcRect/>
          <a:stretch/>
        </p:blipFill>
        <p:spPr>
          <a:xfrm>
            <a:off x="432433" y="3882153"/>
            <a:ext cx="265176" cy="265176"/>
          </a:xfrm>
          <a:prstGeom prst="rect">
            <a:avLst/>
          </a:prstGeom>
          <a:noFill/>
          <a:ln>
            <a:noFill/>
          </a:ln>
        </p:spPr>
      </p:pic>
      <p:pic>
        <p:nvPicPr>
          <p:cNvPr id="386" name="Google Shape;386;p7"/>
          <p:cNvPicPr preferRelativeResize="0"/>
          <p:nvPr/>
        </p:nvPicPr>
        <p:blipFill rotWithShape="1">
          <a:blip r:embed="rId8">
            <a:alphaModFix/>
          </a:blip>
          <a:srcRect/>
          <a:stretch/>
        </p:blipFill>
        <p:spPr>
          <a:xfrm>
            <a:off x="432433" y="2625938"/>
            <a:ext cx="265176" cy="265176"/>
          </a:xfrm>
          <a:prstGeom prst="rect">
            <a:avLst/>
          </a:prstGeom>
          <a:noFill/>
          <a:ln>
            <a:noFill/>
          </a:ln>
        </p:spPr>
      </p:pic>
      <p:cxnSp>
        <p:nvCxnSpPr>
          <p:cNvPr id="389" name="Google Shape;389;p7"/>
          <p:cNvCxnSpPr/>
          <p:nvPr/>
        </p:nvCxnSpPr>
        <p:spPr>
          <a:xfrm>
            <a:off x="5577451" y="1745476"/>
            <a:ext cx="0" cy="4345725"/>
          </a:xfrm>
          <a:prstGeom prst="straightConnector1">
            <a:avLst/>
          </a:prstGeom>
          <a:noFill/>
          <a:ln w="9525" cap="flat" cmpd="sng">
            <a:solidFill>
              <a:srgbClr val="7F7F7F"/>
            </a:solidFill>
            <a:prstDash val="solid"/>
            <a:round/>
            <a:headEnd type="none" w="sm" len="sm"/>
            <a:tailEnd type="none" w="sm" len="sm"/>
          </a:ln>
        </p:spPr>
      </p:cxnSp>
      <p:cxnSp>
        <p:nvCxnSpPr>
          <p:cNvPr id="390" name="Google Shape;390;p7"/>
          <p:cNvCxnSpPr/>
          <p:nvPr/>
        </p:nvCxnSpPr>
        <p:spPr>
          <a:xfrm>
            <a:off x="260364" y="1745476"/>
            <a:ext cx="0" cy="4345725"/>
          </a:xfrm>
          <a:prstGeom prst="straightConnector1">
            <a:avLst/>
          </a:prstGeom>
          <a:noFill/>
          <a:ln w="9525" cap="flat" cmpd="sng">
            <a:solidFill>
              <a:srgbClr val="C7C7C7"/>
            </a:solidFill>
            <a:prstDash val="dot"/>
            <a:round/>
            <a:headEnd type="none" w="sm" len="sm"/>
            <a:tailEnd type="none" w="sm" len="sm"/>
          </a:ln>
        </p:spPr>
      </p:cxnSp>
      <p:cxnSp>
        <p:nvCxnSpPr>
          <p:cNvPr id="391" name="Google Shape;391;p7"/>
          <p:cNvCxnSpPr/>
          <p:nvPr/>
        </p:nvCxnSpPr>
        <p:spPr>
          <a:xfrm>
            <a:off x="1323782" y="1745476"/>
            <a:ext cx="0" cy="4345725"/>
          </a:xfrm>
          <a:prstGeom prst="straightConnector1">
            <a:avLst/>
          </a:prstGeom>
          <a:noFill/>
          <a:ln w="9525" cap="flat" cmpd="sng">
            <a:solidFill>
              <a:srgbClr val="7F7F7F"/>
            </a:solidFill>
            <a:prstDash val="solid"/>
            <a:round/>
            <a:headEnd type="none" w="sm" len="sm"/>
            <a:tailEnd type="none" w="sm" len="sm"/>
          </a:ln>
        </p:spPr>
      </p:cxnSp>
      <p:cxnSp>
        <p:nvCxnSpPr>
          <p:cNvPr id="392" name="Google Shape;392;p7"/>
          <p:cNvCxnSpPr/>
          <p:nvPr/>
        </p:nvCxnSpPr>
        <p:spPr>
          <a:xfrm>
            <a:off x="2387199" y="1745476"/>
            <a:ext cx="0" cy="4345725"/>
          </a:xfrm>
          <a:prstGeom prst="straightConnector1">
            <a:avLst/>
          </a:prstGeom>
          <a:noFill/>
          <a:ln w="9525" cap="flat" cmpd="sng">
            <a:solidFill>
              <a:srgbClr val="C7C7C7"/>
            </a:solidFill>
            <a:prstDash val="dot"/>
            <a:round/>
            <a:headEnd type="none" w="sm" len="sm"/>
            <a:tailEnd type="none" w="sm" len="sm"/>
          </a:ln>
        </p:spPr>
      </p:cxnSp>
      <p:cxnSp>
        <p:nvCxnSpPr>
          <p:cNvPr id="393" name="Google Shape;393;p7"/>
          <p:cNvCxnSpPr/>
          <p:nvPr/>
        </p:nvCxnSpPr>
        <p:spPr>
          <a:xfrm>
            <a:off x="3450616" y="1745476"/>
            <a:ext cx="0" cy="4345725"/>
          </a:xfrm>
          <a:prstGeom prst="straightConnector1">
            <a:avLst/>
          </a:prstGeom>
          <a:noFill/>
          <a:ln w="9525" cap="flat" cmpd="sng">
            <a:solidFill>
              <a:srgbClr val="7F7F7F"/>
            </a:solidFill>
            <a:prstDash val="solid"/>
            <a:round/>
            <a:headEnd type="none" w="sm" len="sm"/>
            <a:tailEnd type="none" w="sm" len="sm"/>
          </a:ln>
        </p:spPr>
      </p:cxnSp>
      <p:cxnSp>
        <p:nvCxnSpPr>
          <p:cNvPr id="394" name="Google Shape;394;p7"/>
          <p:cNvCxnSpPr/>
          <p:nvPr/>
        </p:nvCxnSpPr>
        <p:spPr>
          <a:xfrm>
            <a:off x="4514033" y="1745476"/>
            <a:ext cx="0" cy="4345725"/>
          </a:xfrm>
          <a:prstGeom prst="straightConnector1">
            <a:avLst/>
          </a:prstGeom>
          <a:noFill/>
          <a:ln w="9525" cap="flat" cmpd="sng">
            <a:solidFill>
              <a:srgbClr val="C7C7C7"/>
            </a:solidFill>
            <a:prstDash val="dot"/>
            <a:round/>
            <a:headEnd type="none" w="sm" len="sm"/>
            <a:tailEnd type="none" w="sm" len="sm"/>
          </a:ln>
        </p:spPr>
      </p:cxnSp>
      <p:cxnSp>
        <p:nvCxnSpPr>
          <p:cNvPr id="395" name="Google Shape;395;p7"/>
          <p:cNvCxnSpPr/>
          <p:nvPr/>
        </p:nvCxnSpPr>
        <p:spPr>
          <a:xfrm>
            <a:off x="6575439" y="1745476"/>
            <a:ext cx="0" cy="4345725"/>
          </a:xfrm>
          <a:prstGeom prst="straightConnector1">
            <a:avLst/>
          </a:prstGeom>
          <a:noFill/>
          <a:ln w="9525" cap="flat" cmpd="sng">
            <a:solidFill>
              <a:srgbClr val="C7C7C7"/>
            </a:solidFill>
            <a:prstDash val="dot"/>
            <a:round/>
            <a:headEnd type="none" w="sm" len="sm"/>
            <a:tailEnd type="none" w="sm" len="sm"/>
          </a:ln>
        </p:spPr>
      </p:cxnSp>
      <p:cxnSp>
        <p:nvCxnSpPr>
          <p:cNvPr id="396" name="Google Shape;396;p7"/>
          <p:cNvCxnSpPr/>
          <p:nvPr/>
        </p:nvCxnSpPr>
        <p:spPr>
          <a:xfrm>
            <a:off x="7538774" y="1757511"/>
            <a:ext cx="0" cy="4345725"/>
          </a:xfrm>
          <a:prstGeom prst="straightConnector1">
            <a:avLst/>
          </a:prstGeom>
          <a:noFill/>
          <a:ln w="9525" cap="flat" cmpd="sng">
            <a:solidFill>
              <a:srgbClr val="7F7F7F"/>
            </a:solidFill>
            <a:prstDash val="solid"/>
            <a:round/>
            <a:headEnd type="none" w="sm" len="sm"/>
            <a:tailEnd type="none" w="sm" len="sm"/>
          </a:ln>
        </p:spPr>
      </p:cxnSp>
      <p:cxnSp>
        <p:nvCxnSpPr>
          <p:cNvPr id="397" name="Google Shape;397;p7"/>
          <p:cNvCxnSpPr>
            <a:cxnSpLocks/>
          </p:cNvCxnSpPr>
          <p:nvPr/>
        </p:nvCxnSpPr>
        <p:spPr>
          <a:xfrm>
            <a:off x="417604" y="3358906"/>
            <a:ext cx="11080577" cy="0"/>
          </a:xfrm>
          <a:prstGeom prst="straightConnector1">
            <a:avLst/>
          </a:prstGeom>
          <a:noFill/>
          <a:ln w="9525" cap="flat" cmpd="sng">
            <a:solidFill>
              <a:srgbClr val="747C74"/>
            </a:solidFill>
            <a:prstDash val="solid"/>
            <a:round/>
            <a:headEnd type="none" w="sm" len="sm"/>
            <a:tailEnd type="none" w="sm" len="sm"/>
          </a:ln>
        </p:spPr>
      </p:cxnSp>
      <p:cxnSp>
        <p:nvCxnSpPr>
          <p:cNvPr id="398" name="Google Shape;398;p7"/>
          <p:cNvCxnSpPr>
            <a:cxnSpLocks/>
          </p:cNvCxnSpPr>
          <p:nvPr/>
        </p:nvCxnSpPr>
        <p:spPr>
          <a:xfrm>
            <a:off x="417606" y="4442627"/>
            <a:ext cx="11080575" cy="0"/>
          </a:xfrm>
          <a:prstGeom prst="straightConnector1">
            <a:avLst/>
          </a:prstGeom>
          <a:noFill/>
          <a:ln w="9525" cap="flat" cmpd="sng">
            <a:solidFill>
              <a:srgbClr val="747C74"/>
            </a:solidFill>
            <a:prstDash val="solid"/>
            <a:round/>
            <a:headEnd type="none" w="sm" len="sm"/>
            <a:tailEnd type="none" w="sm" len="sm"/>
          </a:ln>
        </p:spPr>
      </p:cxnSp>
      <p:sp>
        <p:nvSpPr>
          <p:cNvPr id="399" name="Google Shape;399;p7"/>
          <p:cNvSpPr/>
          <p:nvPr/>
        </p:nvSpPr>
        <p:spPr>
          <a:xfrm>
            <a:off x="1350947" y="2703276"/>
            <a:ext cx="1010245" cy="368035"/>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Prioritized backlog</a:t>
            </a:r>
            <a:endParaRPr sz="850" b="0" i="0" u="none" strike="noStrike" cap="none">
              <a:solidFill>
                <a:srgbClr val="000000"/>
              </a:solidFill>
              <a:latin typeface="Source Sans Pro"/>
              <a:ea typeface="Source Sans Pro"/>
              <a:cs typeface="Source Sans Pro"/>
              <a:sym typeface="Source Sans Pro"/>
            </a:endParaRPr>
          </a:p>
        </p:txBody>
      </p:sp>
      <p:sp>
        <p:nvSpPr>
          <p:cNvPr id="400" name="Google Shape;400;p7"/>
          <p:cNvSpPr/>
          <p:nvPr/>
        </p:nvSpPr>
        <p:spPr>
          <a:xfrm>
            <a:off x="2404004" y="2142658"/>
            <a:ext cx="3153053" cy="204624"/>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Identify Change Management or Communications Plan</a:t>
            </a:r>
            <a:endParaRPr sz="850" b="0" i="0" u="none" strike="noStrike" cap="none">
              <a:solidFill>
                <a:srgbClr val="000000"/>
              </a:solidFill>
              <a:latin typeface="Source Sans Pro"/>
              <a:ea typeface="Source Sans Pro"/>
              <a:cs typeface="Source Sans Pro"/>
              <a:sym typeface="Source Sans Pro"/>
            </a:endParaRPr>
          </a:p>
        </p:txBody>
      </p:sp>
      <p:sp>
        <p:nvSpPr>
          <p:cNvPr id="401" name="Google Shape;401;p7"/>
          <p:cNvSpPr/>
          <p:nvPr/>
        </p:nvSpPr>
        <p:spPr>
          <a:xfrm>
            <a:off x="5595466" y="2143696"/>
            <a:ext cx="5881057" cy="204625"/>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850">
                <a:solidFill>
                  <a:srgbClr val="FDFFFD"/>
                </a:solidFill>
                <a:latin typeface="Source Sans Pro"/>
                <a:ea typeface="Source Sans Pro"/>
                <a:cs typeface="Source Sans Pro"/>
                <a:sym typeface="Source Sans Pro"/>
              </a:rPr>
              <a:t>1095-B Handover </a:t>
            </a:r>
            <a:r>
              <a:rPr lang="en-US" sz="850" b="0" i="0" u="none" strike="noStrike" cap="none">
                <a:solidFill>
                  <a:srgbClr val="FDFFFD"/>
                </a:solidFill>
                <a:latin typeface="Source Sans Pro"/>
                <a:ea typeface="Source Sans Pro"/>
                <a:cs typeface="Source Sans Pro"/>
                <a:sym typeface="Source Sans Pro"/>
              </a:rPr>
              <a:t>plan</a:t>
            </a:r>
            <a:r>
              <a:rPr lang="en-US" sz="850">
                <a:solidFill>
                  <a:srgbClr val="FDFFFD"/>
                </a:solidFill>
                <a:latin typeface="Source Sans Pro"/>
                <a:ea typeface="Source Sans Pro"/>
                <a:cs typeface="Source Sans Pro"/>
                <a:sym typeface="Source Sans Pro"/>
              </a:rPr>
              <a:t> </a:t>
            </a:r>
            <a:r>
              <a:rPr lang="en-US" sz="850" b="0" i="0" u="none" strike="noStrike" cap="none">
                <a:solidFill>
                  <a:srgbClr val="FDFFFD"/>
                </a:solidFill>
                <a:latin typeface="Source Sans Pro"/>
                <a:ea typeface="Source Sans Pro"/>
                <a:cs typeface="Source Sans Pro"/>
                <a:sym typeface="Source Sans Pro"/>
              </a:rPr>
              <a:t> - Prepare for launch</a:t>
            </a:r>
            <a:endParaRPr sz="850" b="0" i="0" u="none" strike="noStrike" cap="none">
              <a:solidFill>
                <a:srgbClr val="000000"/>
              </a:solidFill>
              <a:latin typeface="Source Sans Pro"/>
              <a:ea typeface="Source Sans Pro"/>
              <a:cs typeface="Source Sans Pro"/>
              <a:sym typeface="Source Sans Pro"/>
            </a:endParaRPr>
          </a:p>
        </p:txBody>
      </p:sp>
      <p:sp>
        <p:nvSpPr>
          <p:cNvPr id="404" name="Google Shape;404;p7"/>
          <p:cNvSpPr/>
          <p:nvPr/>
        </p:nvSpPr>
        <p:spPr>
          <a:xfrm>
            <a:off x="1348867" y="4837576"/>
            <a:ext cx="6154958" cy="381429"/>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Build solution (form UI, data connections, storage, etc.)</a:t>
            </a:r>
            <a:endParaRPr sz="850" b="0" i="0" u="none" strike="noStrike" cap="none">
              <a:solidFill>
                <a:schemeClr val="accent1"/>
              </a:solidFill>
              <a:latin typeface="Source Sans Pro"/>
              <a:ea typeface="Source Sans Pro"/>
              <a:cs typeface="Source Sans Pro"/>
              <a:sym typeface="Source Sans Pro"/>
            </a:endParaRPr>
          </a:p>
        </p:txBody>
      </p:sp>
      <p:sp>
        <p:nvSpPr>
          <p:cNvPr id="409" name="Google Shape;409;p7"/>
          <p:cNvSpPr/>
          <p:nvPr/>
        </p:nvSpPr>
        <p:spPr>
          <a:xfrm>
            <a:off x="2743282" y="3400677"/>
            <a:ext cx="686323" cy="43971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Testing prep &amp; recruiting</a:t>
            </a:r>
            <a:endParaRPr sz="850" b="0" i="0" u="none" strike="noStrike" cap="none">
              <a:solidFill>
                <a:srgbClr val="FDFFFD"/>
              </a:solidFill>
              <a:latin typeface="Source Sans Pro"/>
              <a:ea typeface="Source Sans Pro"/>
              <a:cs typeface="Source Sans Pro"/>
              <a:sym typeface="Source Sans Pro"/>
            </a:endParaRPr>
          </a:p>
        </p:txBody>
      </p:sp>
      <p:sp>
        <p:nvSpPr>
          <p:cNvPr id="410" name="Google Shape;410;p7"/>
          <p:cNvSpPr/>
          <p:nvPr/>
        </p:nvSpPr>
        <p:spPr>
          <a:xfrm>
            <a:off x="1348720" y="3850718"/>
            <a:ext cx="2084815" cy="26990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Design iterations</a:t>
            </a:r>
            <a:endParaRPr sz="850" b="0" i="0" u="none" strike="noStrike" cap="none">
              <a:solidFill>
                <a:srgbClr val="000000"/>
              </a:solidFill>
              <a:latin typeface="Source Sans Pro"/>
              <a:ea typeface="Source Sans Pro"/>
              <a:cs typeface="Source Sans Pro"/>
              <a:sym typeface="Source Sans Pro"/>
            </a:endParaRPr>
          </a:p>
        </p:txBody>
      </p:sp>
      <p:sp>
        <p:nvSpPr>
          <p:cNvPr id="413" name="Google Shape;413;p7"/>
          <p:cNvSpPr/>
          <p:nvPr/>
        </p:nvSpPr>
        <p:spPr>
          <a:xfrm>
            <a:off x="3474032" y="3841020"/>
            <a:ext cx="2594249" cy="282597"/>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Design iterations</a:t>
            </a:r>
            <a:endParaRPr sz="850" b="0" i="0" u="none" strike="noStrike" cap="none">
              <a:solidFill>
                <a:srgbClr val="FDFFFD"/>
              </a:solidFill>
              <a:latin typeface="Source Sans Pro"/>
              <a:ea typeface="Source Sans Pro"/>
              <a:cs typeface="Source Sans Pro"/>
              <a:sym typeface="Source Sans Pro"/>
            </a:endParaRPr>
          </a:p>
        </p:txBody>
      </p:sp>
      <p:sp>
        <p:nvSpPr>
          <p:cNvPr id="416" name="Google Shape;416;p7"/>
          <p:cNvSpPr txBox="1"/>
          <p:nvPr/>
        </p:nvSpPr>
        <p:spPr>
          <a:xfrm>
            <a:off x="11179692" y="5370134"/>
            <a:ext cx="1165127" cy="415498"/>
          </a:xfrm>
          <a:prstGeom prst="rect">
            <a:avLst/>
          </a:prstGeom>
          <a:noFill/>
          <a:ln>
            <a:noFill/>
          </a:ln>
        </p:spPr>
        <p:txBody>
          <a:bodyPr spcFirstLastPara="1" wrap="square" lIns="0" tIns="0" rIns="0" bIns="0" anchor="t" anchorCtr="0">
            <a:spAutoFit/>
          </a:bodyPr>
          <a:lstStyle/>
          <a:p>
            <a:pPr>
              <a:buClr>
                <a:srgbClr val="202120"/>
              </a:buClr>
              <a:buSzPts val="900"/>
            </a:pPr>
            <a:r>
              <a:rPr lang="en-US" sz="900" b="0" i="0" u="none" strike="noStrike" cap="none">
                <a:solidFill>
                  <a:srgbClr val="202120"/>
                </a:solidFill>
                <a:latin typeface="Source Sans Pro SemiBold"/>
                <a:ea typeface="Source Sans Pro SemiBold"/>
                <a:cs typeface="Source Sans Pro SemiBold"/>
                <a:sym typeface="Source Sans Pro SemiBold"/>
              </a:rPr>
              <a:t>MVP Launch Date Dependent on Legal Review</a:t>
            </a:r>
            <a:r>
              <a:rPr lang="en-US" sz="900">
                <a:solidFill>
                  <a:srgbClr val="202120"/>
                </a:solidFill>
                <a:latin typeface="Source Sans Pro SemiBold"/>
                <a:ea typeface="Source Sans Pro SemiBold"/>
                <a:cs typeface="Source Sans Pro SemiBold"/>
                <a:sym typeface="Source Sans Pro SemiBold"/>
              </a:rPr>
              <a:t> Completion</a:t>
            </a:r>
            <a:endParaRPr lang="en-US" sz="900" b="0" i="0" u="none" strike="noStrike" cap="none">
              <a:solidFill>
                <a:srgbClr val="202120"/>
              </a:solidFill>
              <a:latin typeface="Source Sans Pro SemiBold"/>
              <a:ea typeface="Source Sans Pro SemiBold"/>
              <a:cs typeface="Source Sans Pro SemiBold"/>
            </a:endParaRPr>
          </a:p>
        </p:txBody>
      </p:sp>
      <p:sp>
        <p:nvSpPr>
          <p:cNvPr id="417" name="Google Shape;417;p7"/>
          <p:cNvSpPr/>
          <p:nvPr/>
        </p:nvSpPr>
        <p:spPr>
          <a:xfrm>
            <a:off x="10899057" y="5361797"/>
            <a:ext cx="219456" cy="223548"/>
          </a:xfrm>
          <a:prstGeom prst="diamond">
            <a:avLst/>
          </a:prstGeom>
          <a:gradFill flip="none" rotWithShape="1">
            <a:gsLst>
              <a:gs pos="0">
                <a:schemeClr val="accent4">
                  <a:tint val="66000"/>
                  <a:satMod val="160000"/>
                </a:schemeClr>
              </a:gs>
              <a:gs pos="50000">
                <a:schemeClr val="accent4">
                  <a:tint val="44500"/>
                  <a:satMod val="160000"/>
                </a:schemeClr>
              </a:gs>
              <a:gs pos="100000">
                <a:schemeClr val="accent4">
                  <a:tint val="23500"/>
                  <a:satMod val="160000"/>
                </a:schemeClr>
              </a:gs>
            </a:gsLst>
            <a:lin ang="2700000" scaled="1"/>
            <a:tileRect/>
          </a:gra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cxnSp>
        <p:nvCxnSpPr>
          <p:cNvPr id="420" name="Google Shape;420;p7"/>
          <p:cNvCxnSpPr/>
          <p:nvPr/>
        </p:nvCxnSpPr>
        <p:spPr>
          <a:xfrm>
            <a:off x="1348720" y="1758481"/>
            <a:ext cx="2084815" cy="0"/>
          </a:xfrm>
          <a:prstGeom prst="straightConnector1">
            <a:avLst/>
          </a:prstGeom>
          <a:noFill/>
          <a:ln w="12700" cap="flat" cmpd="sng">
            <a:solidFill>
              <a:schemeClr val="dk1"/>
            </a:solidFill>
            <a:prstDash val="solid"/>
            <a:round/>
            <a:headEnd type="none" w="sm" len="sm"/>
            <a:tailEnd type="none" w="sm" len="sm"/>
          </a:ln>
        </p:spPr>
      </p:cxnSp>
      <p:cxnSp>
        <p:nvCxnSpPr>
          <p:cNvPr id="421" name="Google Shape;421;p7"/>
          <p:cNvCxnSpPr/>
          <p:nvPr/>
        </p:nvCxnSpPr>
        <p:spPr>
          <a:xfrm>
            <a:off x="3471626" y="1758481"/>
            <a:ext cx="2084815" cy="0"/>
          </a:xfrm>
          <a:prstGeom prst="straightConnector1">
            <a:avLst/>
          </a:prstGeom>
          <a:noFill/>
          <a:ln w="12700" cap="flat" cmpd="sng">
            <a:solidFill>
              <a:schemeClr val="dk1"/>
            </a:solidFill>
            <a:prstDash val="solid"/>
            <a:round/>
            <a:headEnd type="none" w="sm" len="sm"/>
            <a:tailEnd type="none" w="sm" len="sm"/>
          </a:ln>
        </p:spPr>
      </p:cxnSp>
      <p:cxnSp>
        <p:nvCxnSpPr>
          <p:cNvPr id="422" name="Google Shape;422;p7"/>
          <p:cNvCxnSpPr/>
          <p:nvPr/>
        </p:nvCxnSpPr>
        <p:spPr>
          <a:xfrm>
            <a:off x="5595468" y="1758481"/>
            <a:ext cx="1925293" cy="0"/>
          </a:xfrm>
          <a:prstGeom prst="straightConnector1">
            <a:avLst/>
          </a:prstGeom>
          <a:noFill/>
          <a:ln w="12700" cap="flat" cmpd="sng">
            <a:solidFill>
              <a:schemeClr val="dk1"/>
            </a:solidFill>
            <a:prstDash val="solid"/>
            <a:round/>
            <a:headEnd type="none" w="sm" len="sm"/>
            <a:tailEnd type="none" w="sm" len="sm"/>
          </a:ln>
        </p:spPr>
      </p:cxnSp>
      <p:cxnSp>
        <p:nvCxnSpPr>
          <p:cNvPr id="423" name="Google Shape;423;p7"/>
          <p:cNvCxnSpPr/>
          <p:nvPr/>
        </p:nvCxnSpPr>
        <p:spPr>
          <a:xfrm>
            <a:off x="7559976" y="1758481"/>
            <a:ext cx="1016064" cy="0"/>
          </a:xfrm>
          <a:prstGeom prst="straightConnector1">
            <a:avLst/>
          </a:prstGeom>
          <a:noFill/>
          <a:ln w="12700" cap="flat" cmpd="sng">
            <a:solidFill>
              <a:schemeClr val="dk1"/>
            </a:solidFill>
            <a:prstDash val="solid"/>
            <a:round/>
            <a:headEnd type="none" w="sm" len="sm"/>
            <a:tailEnd type="none" w="sm" len="sm"/>
          </a:ln>
        </p:spPr>
      </p:cxnSp>
      <p:pic>
        <p:nvPicPr>
          <p:cNvPr id="424" name="Google Shape;424;p7"/>
          <p:cNvPicPr preferRelativeResize="0"/>
          <p:nvPr/>
        </p:nvPicPr>
        <p:blipFill rotWithShape="1">
          <a:blip r:embed="rId9">
            <a:alphaModFix/>
          </a:blip>
          <a:srcRect/>
          <a:stretch/>
        </p:blipFill>
        <p:spPr>
          <a:xfrm>
            <a:off x="432433" y="4832132"/>
            <a:ext cx="265176" cy="265176"/>
          </a:xfrm>
          <a:prstGeom prst="rect">
            <a:avLst/>
          </a:prstGeom>
          <a:noFill/>
          <a:ln>
            <a:noFill/>
          </a:ln>
        </p:spPr>
      </p:pic>
      <p:cxnSp>
        <p:nvCxnSpPr>
          <p:cNvPr id="425" name="Google Shape;425;p7"/>
          <p:cNvCxnSpPr>
            <a:cxnSpLocks/>
          </p:cNvCxnSpPr>
          <p:nvPr/>
        </p:nvCxnSpPr>
        <p:spPr>
          <a:xfrm>
            <a:off x="432433" y="5219016"/>
            <a:ext cx="11065748" cy="0"/>
          </a:xfrm>
          <a:prstGeom prst="straightConnector1">
            <a:avLst/>
          </a:prstGeom>
          <a:noFill/>
          <a:ln w="9525" cap="flat" cmpd="sng">
            <a:solidFill>
              <a:srgbClr val="747C74"/>
            </a:solidFill>
            <a:prstDash val="solid"/>
            <a:round/>
            <a:headEnd type="none" w="sm" len="sm"/>
            <a:tailEnd type="none" w="sm" len="sm"/>
          </a:ln>
        </p:spPr>
      </p:cxnSp>
      <p:sp>
        <p:nvSpPr>
          <p:cNvPr id="426" name="Google Shape;426;p7"/>
          <p:cNvSpPr/>
          <p:nvPr/>
        </p:nvSpPr>
        <p:spPr>
          <a:xfrm>
            <a:off x="340765" y="5331382"/>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Collaboration Cycle</a:t>
            </a:r>
            <a:endParaRPr sz="900" b="1" i="0" u="none" strike="noStrike" cap="none">
              <a:solidFill>
                <a:schemeClr val="dk2"/>
              </a:solidFill>
              <a:latin typeface="Source Sans Pro Semibold"/>
              <a:ea typeface="Source Sans Pro Semibold"/>
              <a:cs typeface="Source Sans Pro Semibold"/>
              <a:sym typeface="Source Sans Pro SemiBold"/>
            </a:endParaRPr>
          </a:p>
        </p:txBody>
      </p:sp>
      <p:pic>
        <p:nvPicPr>
          <p:cNvPr id="427" name="Google Shape;427;p7"/>
          <p:cNvPicPr preferRelativeResize="0"/>
          <p:nvPr/>
        </p:nvPicPr>
        <p:blipFill rotWithShape="1">
          <a:blip r:embed="rId10">
            <a:alphaModFix/>
          </a:blip>
          <a:srcRect/>
          <a:stretch/>
        </p:blipFill>
        <p:spPr>
          <a:xfrm>
            <a:off x="432433" y="5656190"/>
            <a:ext cx="265176" cy="265176"/>
          </a:xfrm>
          <a:prstGeom prst="rect">
            <a:avLst/>
          </a:prstGeom>
          <a:noFill/>
          <a:ln>
            <a:noFill/>
          </a:ln>
        </p:spPr>
      </p:pic>
      <p:sp>
        <p:nvSpPr>
          <p:cNvPr id="430" name="Google Shape;430;p7"/>
          <p:cNvSpPr txBox="1"/>
          <p:nvPr/>
        </p:nvSpPr>
        <p:spPr>
          <a:xfrm>
            <a:off x="9248048" y="5577324"/>
            <a:ext cx="961271" cy="1384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Staging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31" name="Google Shape;431;p7"/>
          <p:cNvSpPr/>
          <p:nvPr/>
        </p:nvSpPr>
        <p:spPr>
          <a:xfrm>
            <a:off x="9528656" y="5313906"/>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32" name="Google Shape;432;p7"/>
          <p:cNvSpPr txBox="1"/>
          <p:nvPr/>
        </p:nvSpPr>
        <p:spPr>
          <a:xfrm>
            <a:off x="4950311"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a:solidFill>
                <a:srgbClr val="202120"/>
              </a:solidFill>
              <a:latin typeface="PT Serif"/>
              <a:ea typeface="PT Serif"/>
              <a:cs typeface="PT Serif"/>
              <a:sym typeface="PT Serif"/>
            </a:endParaRPr>
          </a:p>
        </p:txBody>
      </p:sp>
      <p:sp>
        <p:nvSpPr>
          <p:cNvPr id="433" name="Google Shape;433;p7"/>
          <p:cNvSpPr txBox="1"/>
          <p:nvPr/>
        </p:nvSpPr>
        <p:spPr>
          <a:xfrm>
            <a:off x="4950311"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a:solidFill>
                <a:srgbClr val="202120"/>
              </a:solidFill>
              <a:latin typeface="PT Serif"/>
              <a:ea typeface="PT Serif"/>
              <a:cs typeface="PT Serif"/>
              <a:sym typeface="PT Serif"/>
            </a:endParaRPr>
          </a:p>
        </p:txBody>
      </p:sp>
      <p:sp>
        <p:nvSpPr>
          <p:cNvPr id="436" name="Google Shape;436;p7"/>
          <p:cNvSpPr txBox="1"/>
          <p:nvPr/>
        </p:nvSpPr>
        <p:spPr>
          <a:xfrm>
            <a:off x="10606723" y="5899040"/>
            <a:ext cx="71644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Contact Center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37" name="Google Shape;437;p7"/>
          <p:cNvSpPr/>
          <p:nvPr/>
        </p:nvSpPr>
        <p:spPr>
          <a:xfrm>
            <a:off x="5171267" y="5291254"/>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0" name="Google Shape;440;p7"/>
          <p:cNvSpPr txBox="1"/>
          <p:nvPr/>
        </p:nvSpPr>
        <p:spPr>
          <a:xfrm>
            <a:off x="4329327" y="5341612"/>
            <a:ext cx="833806" cy="1384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Midpoint Review </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41" name="Google Shape;441;p7"/>
          <p:cNvSpPr/>
          <p:nvPr/>
        </p:nvSpPr>
        <p:spPr>
          <a:xfrm>
            <a:off x="10331673" y="5827381"/>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2" name="Google Shape;442;p7"/>
          <p:cNvSpPr txBox="1"/>
          <p:nvPr/>
        </p:nvSpPr>
        <p:spPr>
          <a:xfrm>
            <a:off x="2815891" y="5720822"/>
            <a:ext cx="871131" cy="41549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Research Plan Review #2 (wireframes)</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43" name="Google Shape;443;p7"/>
          <p:cNvSpPr/>
          <p:nvPr/>
        </p:nvSpPr>
        <p:spPr>
          <a:xfrm>
            <a:off x="3023230" y="5454145"/>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4" name="Google Shape;444;p7"/>
          <p:cNvSpPr txBox="1"/>
          <p:nvPr/>
        </p:nvSpPr>
        <p:spPr>
          <a:xfrm>
            <a:off x="5902060" y="5503806"/>
            <a:ext cx="79537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Privacy &amp; Security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45" name="Google Shape;445;p7"/>
          <p:cNvSpPr/>
          <p:nvPr/>
        </p:nvSpPr>
        <p:spPr>
          <a:xfrm>
            <a:off x="5647200" y="5496268"/>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6" name="Google Shape;446;p7"/>
          <p:cNvSpPr txBox="1"/>
          <p:nvPr/>
        </p:nvSpPr>
        <p:spPr>
          <a:xfrm>
            <a:off x="10410064" y="5293233"/>
            <a:ext cx="1084910"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Analytics Review</a:t>
            </a:r>
            <a:endParaRPr sz="900" b="0" i="0" u="none" strike="noStrike" cap="none">
              <a:solidFill>
                <a:srgbClr val="202120"/>
              </a:solidFill>
              <a:latin typeface="PT Serif"/>
              <a:ea typeface="PT Serif"/>
              <a:cs typeface="PT Serif"/>
              <a:sym typeface="PT Serif"/>
            </a:endParaRPr>
          </a:p>
        </p:txBody>
      </p:sp>
      <p:sp>
        <p:nvSpPr>
          <p:cNvPr id="447" name="Google Shape;447;p7"/>
          <p:cNvSpPr/>
          <p:nvPr/>
        </p:nvSpPr>
        <p:spPr>
          <a:xfrm>
            <a:off x="10334950" y="5326137"/>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53" name="Google Shape;453;p7"/>
          <p:cNvSpPr txBox="1"/>
          <p:nvPr/>
        </p:nvSpPr>
        <p:spPr>
          <a:xfrm>
            <a:off x="417604" y="6497384"/>
            <a:ext cx="6360593" cy="283154"/>
          </a:xfrm>
          <a:prstGeom prst="rect">
            <a:avLst/>
          </a:prstGeom>
          <a:noFill/>
          <a:ln>
            <a:noFill/>
          </a:ln>
        </p:spPr>
        <p:txBody>
          <a:bodyPr spcFirstLastPara="1" wrap="square" lIns="0" tIns="0" rIns="0" bIns="0" anchor="t" anchorCtr="0">
            <a:spAutoFit/>
          </a:bodyPr>
          <a:lstStyle/>
          <a:p>
            <a:pPr>
              <a:lnSpc>
                <a:spcPct val="115000"/>
              </a:lnSpc>
              <a:buClr>
                <a:srgbClr val="434343"/>
              </a:buClr>
              <a:buSzPts val="1800"/>
            </a:pPr>
            <a:r>
              <a:rPr lang="en-US" sz="800" b="0" i="0" u="none" strike="noStrike" cap="none">
                <a:solidFill>
                  <a:srgbClr val="434343"/>
                </a:solidFill>
                <a:latin typeface="PT Serif"/>
                <a:ea typeface="PT Serif"/>
                <a:cs typeface="PT Serif"/>
                <a:sym typeface="PT Serif"/>
              </a:rPr>
              <a:t>*Does not show post-MVP Validate phase meetings in Collaboration Cycle, such as Full Accessibility Audit and Post-Launch Check In</a:t>
            </a:r>
            <a:r>
              <a:rPr lang="en-US" sz="800">
                <a:solidFill>
                  <a:srgbClr val="434343"/>
                </a:solidFill>
                <a:latin typeface="PT Serif"/>
                <a:ea typeface="PT Serif"/>
                <a:cs typeface="PT Serif"/>
                <a:sym typeface="PT Serif"/>
              </a:rPr>
              <a:t>; Contact Center Review adjusted to 3 weeks before launch as approved by Jason Woodman</a:t>
            </a:r>
            <a:endParaRPr lang="en-US" sz="800" b="0" i="0" u="none" strike="noStrike" cap="none">
              <a:solidFill>
                <a:srgbClr val="434343"/>
              </a:solidFill>
              <a:latin typeface="PT Serif"/>
            </a:endParaRPr>
          </a:p>
        </p:txBody>
      </p:sp>
      <p:sp>
        <p:nvSpPr>
          <p:cNvPr id="454" name="Google Shape;454;p7"/>
          <p:cNvSpPr txBox="1"/>
          <p:nvPr/>
        </p:nvSpPr>
        <p:spPr>
          <a:xfrm>
            <a:off x="3806337" y="5897730"/>
            <a:ext cx="64236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Content &amp; IA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55" name="Google Shape;455;p7"/>
          <p:cNvSpPr/>
          <p:nvPr/>
        </p:nvSpPr>
        <p:spPr>
          <a:xfrm>
            <a:off x="3823160" y="5640718"/>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grpSp>
        <p:nvGrpSpPr>
          <p:cNvPr id="118" name="Google Shape;717;p22">
            <a:extLst>
              <a:ext uri="{FF2B5EF4-FFF2-40B4-BE49-F238E27FC236}">
                <a16:creationId xmlns:a16="http://schemas.microsoft.com/office/drawing/2014/main" id="{275CF833-F3B3-45B1-9DDC-1A138C1A7119}"/>
              </a:ext>
            </a:extLst>
          </p:cNvPr>
          <p:cNvGrpSpPr/>
          <p:nvPr/>
        </p:nvGrpSpPr>
        <p:grpSpPr>
          <a:xfrm>
            <a:off x="9039633" y="670860"/>
            <a:ext cx="2793358" cy="431734"/>
            <a:chOff x="8441380" y="969519"/>
            <a:chExt cx="2793358" cy="431734"/>
          </a:xfrm>
        </p:grpSpPr>
        <p:sp>
          <p:nvSpPr>
            <p:cNvPr id="122" name="Google Shape;718;p22">
              <a:extLst>
                <a:ext uri="{FF2B5EF4-FFF2-40B4-BE49-F238E27FC236}">
                  <a16:creationId xmlns:a16="http://schemas.microsoft.com/office/drawing/2014/main" id="{09CCFE8E-CA5C-4EA3-ADD4-17C6D9C20CBE}"/>
                </a:ext>
              </a:extLst>
            </p:cNvPr>
            <p:cNvSpPr/>
            <p:nvPr/>
          </p:nvSpPr>
          <p:spPr>
            <a:xfrm>
              <a:off x="10598367" y="975869"/>
              <a:ext cx="195608" cy="194198"/>
            </a:xfrm>
            <a:prstGeom prst="diamond">
              <a:avLst/>
            </a:prstGeom>
            <a:solidFill>
              <a:schemeClr val="accent4"/>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3" name="Google Shape;719;p22">
              <a:extLst>
                <a:ext uri="{FF2B5EF4-FFF2-40B4-BE49-F238E27FC236}">
                  <a16:creationId xmlns:a16="http://schemas.microsoft.com/office/drawing/2014/main" id="{395357FF-C494-4F5A-BC17-43D9D2B48AF7}"/>
                </a:ext>
              </a:extLst>
            </p:cNvPr>
            <p:cNvSpPr/>
            <p:nvPr/>
          </p:nvSpPr>
          <p:spPr>
            <a:xfrm>
              <a:off x="9441501" y="969519"/>
              <a:ext cx="195608" cy="19419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4" name="Google Shape;720;p22">
              <a:extLst>
                <a:ext uri="{FF2B5EF4-FFF2-40B4-BE49-F238E27FC236}">
                  <a16:creationId xmlns:a16="http://schemas.microsoft.com/office/drawing/2014/main" id="{3927D24C-3D9A-49E6-98C6-9726B7661B81}"/>
                </a:ext>
              </a:extLst>
            </p:cNvPr>
            <p:cNvSpPr/>
            <p:nvPr/>
          </p:nvSpPr>
          <p:spPr>
            <a:xfrm>
              <a:off x="8441380" y="1023519"/>
              <a:ext cx="195608" cy="19419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5" name="Google Shape;721;p22">
              <a:extLst>
                <a:ext uri="{FF2B5EF4-FFF2-40B4-BE49-F238E27FC236}">
                  <a16:creationId xmlns:a16="http://schemas.microsoft.com/office/drawing/2014/main" id="{3E514B59-F9C8-4C76-973B-1F2C3AB2226B}"/>
                </a:ext>
              </a:extLst>
            </p:cNvPr>
            <p:cNvSpPr txBox="1"/>
            <p:nvPr/>
          </p:nvSpPr>
          <p:spPr>
            <a:xfrm>
              <a:off x="8619944" y="1031921"/>
              <a:ext cx="572133" cy="24622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Owned by design team</a:t>
              </a:r>
              <a:endParaRPr sz="800" b="0" i="0" u="none" strike="noStrike" cap="none">
                <a:solidFill>
                  <a:schemeClr val="dk2"/>
                </a:solidFill>
                <a:latin typeface="Source Sans Pro"/>
                <a:ea typeface="Source Sans Pro"/>
                <a:cs typeface="Source Sans Pro"/>
                <a:sym typeface="Source Sans Pro"/>
              </a:endParaRPr>
            </a:p>
          </p:txBody>
        </p:sp>
        <p:sp>
          <p:nvSpPr>
            <p:cNvPr id="126" name="Google Shape;722;p22">
              <a:extLst>
                <a:ext uri="{FF2B5EF4-FFF2-40B4-BE49-F238E27FC236}">
                  <a16:creationId xmlns:a16="http://schemas.microsoft.com/office/drawing/2014/main" id="{0F88BD2B-0FA8-43BF-8E8B-04E1C76E136B}"/>
                </a:ext>
              </a:extLst>
            </p:cNvPr>
            <p:cNvSpPr txBox="1"/>
            <p:nvPr/>
          </p:nvSpPr>
          <p:spPr>
            <a:xfrm>
              <a:off x="10855095" y="1038271"/>
              <a:ext cx="379643" cy="12311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Release</a:t>
              </a:r>
              <a:endParaRPr sz="800" b="0" i="0" u="none" strike="noStrike" cap="none">
                <a:solidFill>
                  <a:schemeClr val="dk2"/>
                </a:solidFill>
                <a:latin typeface="Source Sans Pro"/>
                <a:ea typeface="Source Sans Pro"/>
                <a:cs typeface="Source Sans Pro"/>
                <a:sym typeface="Source Sans Pro"/>
              </a:endParaRPr>
            </a:p>
          </p:txBody>
        </p:sp>
        <p:sp>
          <p:nvSpPr>
            <p:cNvPr id="127" name="Google Shape;723;p22">
              <a:extLst>
                <a:ext uri="{FF2B5EF4-FFF2-40B4-BE49-F238E27FC236}">
                  <a16:creationId xmlns:a16="http://schemas.microsoft.com/office/drawing/2014/main" id="{67FB492E-3E2B-42BF-A310-0CE6E5448A0B}"/>
                </a:ext>
              </a:extLst>
            </p:cNvPr>
            <p:cNvSpPr txBox="1"/>
            <p:nvPr/>
          </p:nvSpPr>
          <p:spPr>
            <a:xfrm>
              <a:off x="9730852" y="1031921"/>
              <a:ext cx="811443"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Owned by product/ engineering team</a:t>
              </a:r>
              <a:endParaRPr sz="800" b="0" i="0" u="none" strike="noStrike" cap="none">
                <a:solidFill>
                  <a:schemeClr val="dk2"/>
                </a:solidFill>
                <a:latin typeface="Source Sans Pro"/>
                <a:ea typeface="Source Sans Pro"/>
                <a:cs typeface="Source Sans Pro"/>
                <a:sym typeface="Source Sans Pro"/>
              </a:endParaRPr>
            </a:p>
          </p:txBody>
        </p:sp>
      </p:grpSp>
      <p:sp>
        <p:nvSpPr>
          <p:cNvPr id="117" name="Google Shape;362;p7">
            <a:extLst>
              <a:ext uri="{FF2B5EF4-FFF2-40B4-BE49-F238E27FC236}">
                <a16:creationId xmlns:a16="http://schemas.microsoft.com/office/drawing/2014/main" id="{E2FD5C6C-CA12-4E89-9D17-227059EEB7D4}"/>
              </a:ext>
            </a:extLst>
          </p:cNvPr>
          <p:cNvSpPr txBox="1"/>
          <p:nvPr/>
        </p:nvSpPr>
        <p:spPr>
          <a:xfrm>
            <a:off x="8743568" y="1820991"/>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1: 3/30 – 04/06</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19" name="Google Shape;395;p7">
            <a:extLst>
              <a:ext uri="{FF2B5EF4-FFF2-40B4-BE49-F238E27FC236}">
                <a16:creationId xmlns:a16="http://schemas.microsoft.com/office/drawing/2014/main" id="{BE5967B3-C8EE-4DCD-9A67-1ED6C8099880}"/>
              </a:ext>
            </a:extLst>
          </p:cNvPr>
          <p:cNvCxnSpPr/>
          <p:nvPr/>
        </p:nvCxnSpPr>
        <p:spPr>
          <a:xfrm>
            <a:off x="8558813" y="1742197"/>
            <a:ext cx="0" cy="4345725"/>
          </a:xfrm>
          <a:prstGeom prst="straightConnector1">
            <a:avLst/>
          </a:prstGeom>
          <a:noFill/>
          <a:ln w="9525" cap="flat" cmpd="sng">
            <a:solidFill>
              <a:srgbClr val="C7C7C7"/>
            </a:solidFill>
            <a:prstDash val="dot"/>
            <a:round/>
            <a:headEnd type="none" w="sm" len="sm"/>
            <a:tailEnd type="none" w="sm" len="sm"/>
          </a:ln>
        </p:spPr>
      </p:cxnSp>
      <p:cxnSp>
        <p:nvCxnSpPr>
          <p:cNvPr id="120" name="Google Shape;422;p7">
            <a:extLst>
              <a:ext uri="{FF2B5EF4-FFF2-40B4-BE49-F238E27FC236}">
                <a16:creationId xmlns:a16="http://schemas.microsoft.com/office/drawing/2014/main" id="{55FA9FF7-4455-4B47-9023-FF6BDA918F8C}"/>
              </a:ext>
            </a:extLst>
          </p:cNvPr>
          <p:cNvCxnSpPr/>
          <p:nvPr/>
        </p:nvCxnSpPr>
        <p:spPr>
          <a:xfrm>
            <a:off x="7578842" y="1755202"/>
            <a:ext cx="1925293" cy="0"/>
          </a:xfrm>
          <a:prstGeom prst="straightConnector1">
            <a:avLst/>
          </a:prstGeom>
          <a:noFill/>
          <a:ln w="12700" cap="flat" cmpd="sng">
            <a:solidFill>
              <a:schemeClr val="dk1"/>
            </a:solidFill>
            <a:prstDash val="solid"/>
            <a:round/>
            <a:headEnd type="none" w="sm" len="sm"/>
            <a:tailEnd type="none" w="sm" len="sm"/>
          </a:ln>
        </p:spPr>
      </p:cxnSp>
      <p:cxnSp>
        <p:nvCxnSpPr>
          <p:cNvPr id="121" name="Google Shape;396;p7">
            <a:extLst>
              <a:ext uri="{FF2B5EF4-FFF2-40B4-BE49-F238E27FC236}">
                <a16:creationId xmlns:a16="http://schemas.microsoft.com/office/drawing/2014/main" id="{97E780CD-675F-4964-B3D4-48E0D2AE9F84}"/>
              </a:ext>
            </a:extLst>
          </p:cNvPr>
          <p:cNvCxnSpPr/>
          <p:nvPr/>
        </p:nvCxnSpPr>
        <p:spPr>
          <a:xfrm>
            <a:off x="9518603" y="1764969"/>
            <a:ext cx="0" cy="4345725"/>
          </a:xfrm>
          <a:prstGeom prst="straightConnector1">
            <a:avLst/>
          </a:prstGeom>
          <a:noFill/>
          <a:ln w="9525" cap="flat" cmpd="sng">
            <a:solidFill>
              <a:srgbClr val="7F7F7F"/>
            </a:solidFill>
            <a:prstDash val="solid"/>
            <a:round/>
            <a:headEnd type="none" w="sm" len="sm"/>
            <a:tailEnd type="none" w="sm" len="sm"/>
          </a:ln>
        </p:spPr>
      </p:cxnSp>
      <p:sp>
        <p:nvSpPr>
          <p:cNvPr id="128" name="Google Shape;369;p7">
            <a:extLst>
              <a:ext uri="{FF2B5EF4-FFF2-40B4-BE49-F238E27FC236}">
                <a16:creationId xmlns:a16="http://schemas.microsoft.com/office/drawing/2014/main" id="{C61FD168-ED42-4403-BA38-E257254F57EF}"/>
              </a:ext>
            </a:extLst>
          </p:cNvPr>
          <p:cNvSpPr txBox="1"/>
          <p:nvPr/>
        </p:nvSpPr>
        <p:spPr>
          <a:xfrm>
            <a:off x="9574092" y="1804119"/>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2: 04/06-04/13</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129" name="Google Shape;370;p7">
            <a:extLst>
              <a:ext uri="{FF2B5EF4-FFF2-40B4-BE49-F238E27FC236}">
                <a16:creationId xmlns:a16="http://schemas.microsoft.com/office/drawing/2014/main" id="{679DDD97-7B33-4561-9F37-C9E486FFDBAF}"/>
              </a:ext>
            </a:extLst>
          </p:cNvPr>
          <p:cNvSpPr txBox="1"/>
          <p:nvPr/>
        </p:nvSpPr>
        <p:spPr>
          <a:xfrm>
            <a:off x="9539554" y="1552197"/>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6</a:t>
            </a:r>
            <a:endParaRPr/>
          </a:p>
        </p:txBody>
      </p:sp>
      <p:cxnSp>
        <p:nvCxnSpPr>
          <p:cNvPr id="131" name="Google Shape;396;p7">
            <a:extLst>
              <a:ext uri="{FF2B5EF4-FFF2-40B4-BE49-F238E27FC236}">
                <a16:creationId xmlns:a16="http://schemas.microsoft.com/office/drawing/2014/main" id="{CA95AD8E-ED34-4D5B-96B5-8760CBB199C6}"/>
              </a:ext>
            </a:extLst>
          </p:cNvPr>
          <p:cNvCxnSpPr/>
          <p:nvPr/>
        </p:nvCxnSpPr>
        <p:spPr>
          <a:xfrm>
            <a:off x="9518352" y="1738705"/>
            <a:ext cx="0" cy="4345725"/>
          </a:xfrm>
          <a:prstGeom prst="straightConnector1">
            <a:avLst/>
          </a:prstGeom>
          <a:noFill/>
          <a:ln w="9525" cap="flat" cmpd="sng">
            <a:solidFill>
              <a:srgbClr val="7F7F7F"/>
            </a:solidFill>
            <a:prstDash val="solid"/>
            <a:round/>
            <a:headEnd type="none" w="sm" len="sm"/>
            <a:tailEnd type="none" w="sm" len="sm"/>
          </a:ln>
        </p:spPr>
      </p:cxnSp>
      <p:cxnSp>
        <p:nvCxnSpPr>
          <p:cNvPr id="135" name="Google Shape;423;p7">
            <a:extLst>
              <a:ext uri="{FF2B5EF4-FFF2-40B4-BE49-F238E27FC236}">
                <a16:creationId xmlns:a16="http://schemas.microsoft.com/office/drawing/2014/main" id="{07D150B9-41C8-4CFF-ACA8-4BE69CAF1760}"/>
              </a:ext>
            </a:extLst>
          </p:cNvPr>
          <p:cNvCxnSpPr>
            <a:cxnSpLocks/>
          </p:cNvCxnSpPr>
          <p:nvPr/>
        </p:nvCxnSpPr>
        <p:spPr>
          <a:xfrm flipV="1">
            <a:off x="9539554" y="1748592"/>
            <a:ext cx="1935415" cy="970"/>
          </a:xfrm>
          <a:prstGeom prst="straightConnector1">
            <a:avLst/>
          </a:prstGeom>
          <a:noFill/>
          <a:ln w="12700" cap="flat" cmpd="sng">
            <a:solidFill>
              <a:schemeClr val="dk1"/>
            </a:solidFill>
            <a:prstDash val="solid"/>
            <a:round/>
            <a:headEnd type="none" w="sm" len="sm"/>
            <a:tailEnd type="none" w="sm" len="sm"/>
          </a:ln>
        </p:spPr>
      </p:cxnSp>
      <p:sp>
        <p:nvSpPr>
          <p:cNvPr id="137" name="Google Shape;362;p7">
            <a:extLst>
              <a:ext uri="{FF2B5EF4-FFF2-40B4-BE49-F238E27FC236}">
                <a16:creationId xmlns:a16="http://schemas.microsoft.com/office/drawing/2014/main" id="{1301D16D-0233-425B-8533-705B8AA7A3FB}"/>
              </a:ext>
            </a:extLst>
          </p:cNvPr>
          <p:cNvSpPr txBox="1"/>
          <p:nvPr/>
        </p:nvSpPr>
        <p:spPr>
          <a:xfrm>
            <a:off x="10734826" y="1802210"/>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3: 04/13-04/20</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38" name="Google Shape;395;p7">
            <a:extLst>
              <a:ext uri="{FF2B5EF4-FFF2-40B4-BE49-F238E27FC236}">
                <a16:creationId xmlns:a16="http://schemas.microsoft.com/office/drawing/2014/main" id="{72CD5195-4FCE-4FC8-B037-A7E561D0D2AA}"/>
              </a:ext>
            </a:extLst>
          </p:cNvPr>
          <p:cNvCxnSpPr/>
          <p:nvPr/>
        </p:nvCxnSpPr>
        <p:spPr>
          <a:xfrm>
            <a:off x="10538391" y="1723391"/>
            <a:ext cx="0" cy="4345725"/>
          </a:xfrm>
          <a:prstGeom prst="straightConnector1">
            <a:avLst/>
          </a:prstGeom>
          <a:noFill/>
          <a:ln w="9525" cap="flat" cmpd="sng">
            <a:solidFill>
              <a:srgbClr val="C7C7C7"/>
            </a:solidFill>
            <a:prstDash val="dot"/>
            <a:round/>
            <a:headEnd type="none" w="sm" len="sm"/>
            <a:tailEnd type="none" w="sm" len="sm"/>
          </a:ln>
        </p:spPr>
      </p:cxnSp>
      <p:sp>
        <p:nvSpPr>
          <p:cNvPr id="94" name="Google Shape;695;p20">
            <a:extLst>
              <a:ext uri="{FF2B5EF4-FFF2-40B4-BE49-F238E27FC236}">
                <a16:creationId xmlns:a16="http://schemas.microsoft.com/office/drawing/2014/main" id="{E31314A6-B11D-4476-9803-2FB49A1BD625}"/>
              </a:ext>
            </a:extLst>
          </p:cNvPr>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buClr>
                <a:srgbClr val="747C74"/>
              </a:buClr>
              <a:buSzPts val="1200"/>
            </a:pPr>
            <a:r>
              <a:rPr lang="en-US" sz="1200">
                <a:solidFill>
                  <a:srgbClr val="747C74"/>
                </a:solidFill>
                <a:latin typeface="Source Sans Pro"/>
                <a:ea typeface="Source Sans Pro"/>
                <a:cs typeface="Source Sans Pro"/>
                <a:sym typeface="Source Sans Pro"/>
              </a:rPr>
              <a:t>Preview of Sprint 6</a:t>
            </a:r>
            <a:endParaRPr sz="1800">
              <a:solidFill>
                <a:schemeClr val="dk1"/>
              </a:solidFill>
              <a:latin typeface="Calibri"/>
              <a:ea typeface="Calibri"/>
              <a:cs typeface="Calibri"/>
              <a:sym typeface="Calibri"/>
            </a:endParaRPr>
          </a:p>
        </p:txBody>
      </p:sp>
      <p:grpSp>
        <p:nvGrpSpPr>
          <p:cNvPr id="3" name="Google Shape;448;p7">
            <a:extLst>
              <a:ext uri="{FF2B5EF4-FFF2-40B4-BE49-F238E27FC236}">
                <a16:creationId xmlns:a16="http://schemas.microsoft.com/office/drawing/2014/main" id="{04B4B9EF-39BF-81F3-070D-703E1C6BC8C8}"/>
              </a:ext>
            </a:extLst>
          </p:cNvPr>
          <p:cNvGrpSpPr/>
          <p:nvPr/>
        </p:nvGrpSpPr>
        <p:grpSpPr>
          <a:xfrm>
            <a:off x="8867761" y="1106764"/>
            <a:ext cx="1301794" cy="5080376"/>
            <a:chOff x="7066559" y="1368394"/>
            <a:chExt cx="1365250" cy="5282673"/>
          </a:xfrm>
        </p:grpSpPr>
        <p:cxnSp>
          <p:nvCxnSpPr>
            <p:cNvPr id="96" name="Google Shape;449;p7">
              <a:extLst>
                <a:ext uri="{FF2B5EF4-FFF2-40B4-BE49-F238E27FC236}">
                  <a16:creationId xmlns:a16="http://schemas.microsoft.com/office/drawing/2014/main" id="{448CA91B-8DA9-1C1C-AA1D-6DFE020531CC}"/>
                </a:ext>
              </a:extLst>
            </p:cNvPr>
            <p:cNvCxnSpPr/>
            <p:nvPr/>
          </p:nvCxnSpPr>
          <p:spPr>
            <a:xfrm>
              <a:off x="7743145" y="1775857"/>
              <a:ext cx="2173" cy="4875210"/>
            </a:xfrm>
            <a:prstGeom prst="straightConnector1">
              <a:avLst/>
            </a:prstGeom>
            <a:noFill/>
            <a:ln w="12700" cap="flat" cmpd="sng">
              <a:solidFill>
                <a:srgbClr val="A1AEBF"/>
              </a:solidFill>
              <a:prstDash val="solid"/>
              <a:round/>
              <a:headEnd type="none" w="sm" len="sm"/>
              <a:tailEnd type="none" w="sm" len="sm"/>
            </a:ln>
          </p:spPr>
        </p:cxnSp>
        <p:grpSp>
          <p:nvGrpSpPr>
            <p:cNvPr id="97" name="Google Shape;450;p7">
              <a:extLst>
                <a:ext uri="{FF2B5EF4-FFF2-40B4-BE49-F238E27FC236}">
                  <a16:creationId xmlns:a16="http://schemas.microsoft.com/office/drawing/2014/main" id="{D9C2C79E-3DA2-A547-A6C1-A2A48BA151D4}"/>
                </a:ext>
              </a:extLst>
            </p:cNvPr>
            <p:cNvGrpSpPr/>
            <p:nvPr/>
          </p:nvGrpSpPr>
          <p:grpSpPr>
            <a:xfrm>
              <a:off x="7066559" y="1368394"/>
              <a:ext cx="1365250" cy="428190"/>
              <a:chOff x="7187209" y="1400144"/>
              <a:chExt cx="1365250" cy="428190"/>
            </a:xfrm>
          </p:grpSpPr>
          <p:sp>
            <p:nvSpPr>
              <p:cNvPr id="98" name="Google Shape;451;p7">
                <a:extLst>
                  <a:ext uri="{FF2B5EF4-FFF2-40B4-BE49-F238E27FC236}">
                    <a16:creationId xmlns:a16="http://schemas.microsoft.com/office/drawing/2014/main" id="{3A23AAE2-4269-C3E7-E699-BA0249A4E5CE}"/>
                  </a:ext>
                </a:extLst>
              </p:cNvPr>
              <p:cNvSpPr/>
              <p:nvPr/>
            </p:nvSpPr>
            <p:spPr>
              <a:xfrm>
                <a:off x="7187209" y="1400144"/>
                <a:ext cx="1365250" cy="344167"/>
              </a:xfrm>
              <a:prstGeom prst="roundRect">
                <a:avLst>
                  <a:gd name="adj" fmla="val 16667"/>
                </a:avLst>
              </a:prstGeom>
              <a:solidFill>
                <a:srgbClr val="D3E9FF"/>
              </a:solidFill>
              <a:ln>
                <a:noFill/>
              </a:ln>
            </p:spPr>
            <p:txBody>
              <a:bodyPr spcFirstLastPara="1" wrap="square" lIns="91425" tIns="73150" rIns="91425" bIns="45700" anchor="ctr" anchorCtr="0">
                <a:noAutofit/>
              </a:bodyPr>
              <a:lstStyle/>
              <a:p>
                <a:pPr marL="0" marR="0" lvl="0" indent="0" algn="ctr" rtl="0">
                  <a:lnSpc>
                    <a:spcPct val="100000"/>
                  </a:lnSpc>
                  <a:spcBef>
                    <a:spcPts val="0"/>
                  </a:spcBef>
                  <a:spcAft>
                    <a:spcPts val="0"/>
                  </a:spcAft>
                  <a:buClr>
                    <a:schemeClr val="accent1"/>
                  </a:buClr>
                  <a:buSzPts val="1200"/>
                  <a:buFont typeface="Source Sans Pro SemiBold"/>
                  <a:buNone/>
                </a:pPr>
                <a:r>
                  <a:rPr lang="en-US" sz="1200" b="1" i="0" u="none" strike="noStrike" cap="none">
                    <a:solidFill>
                      <a:schemeClr val="accent1"/>
                    </a:solidFill>
                    <a:latin typeface="Source Sans Pro Semibold"/>
                    <a:ea typeface="Source Sans Pro Semibold"/>
                    <a:cs typeface="Source Sans Pro Semibold"/>
                    <a:sym typeface="Source Sans Pro SemiBold"/>
                  </a:rPr>
                  <a:t>WE ARE HERE</a:t>
                </a:r>
                <a:endParaRPr sz="1200" b="1" i="0" u="none" strike="noStrike" cap="none">
                  <a:solidFill>
                    <a:schemeClr val="accent1"/>
                  </a:solidFill>
                  <a:latin typeface="Source Sans Pro Semibold"/>
                  <a:ea typeface="Source Sans Pro Semibold"/>
                  <a:cs typeface="Source Sans Pro Semibold"/>
                  <a:sym typeface="Source Sans Pro SemiBold"/>
                </a:endParaRPr>
              </a:p>
            </p:txBody>
          </p:sp>
          <p:sp>
            <p:nvSpPr>
              <p:cNvPr id="99" name="Google Shape;452;p7">
                <a:extLst>
                  <a:ext uri="{FF2B5EF4-FFF2-40B4-BE49-F238E27FC236}">
                    <a16:creationId xmlns:a16="http://schemas.microsoft.com/office/drawing/2014/main" id="{E30D416F-7947-2763-0E54-B1F9E0F67A72}"/>
                  </a:ext>
                </a:extLst>
              </p:cNvPr>
              <p:cNvSpPr/>
              <p:nvPr/>
            </p:nvSpPr>
            <p:spPr>
              <a:xfrm rot="10800000">
                <a:off x="7773027" y="1745784"/>
                <a:ext cx="171449" cy="82550"/>
              </a:xfrm>
              <a:prstGeom prst="triangle">
                <a:avLst>
                  <a:gd name="adj" fmla="val 50000"/>
                </a:avLst>
              </a:prstGeom>
              <a:solidFill>
                <a:srgbClr val="D3E9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grpSp>
      </p:grpSp>
      <p:sp>
        <p:nvSpPr>
          <p:cNvPr id="103" name="Google Shape;401;p7">
            <a:extLst>
              <a:ext uri="{FF2B5EF4-FFF2-40B4-BE49-F238E27FC236}">
                <a16:creationId xmlns:a16="http://schemas.microsoft.com/office/drawing/2014/main" id="{BBD84C33-E4EA-5234-5A58-46F795902624}"/>
              </a:ext>
            </a:extLst>
          </p:cNvPr>
          <p:cNvSpPr/>
          <p:nvPr/>
        </p:nvSpPr>
        <p:spPr>
          <a:xfrm>
            <a:off x="9520484" y="2362950"/>
            <a:ext cx="1959634" cy="204625"/>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850">
                <a:solidFill>
                  <a:srgbClr val="FDFFFD"/>
                </a:solidFill>
                <a:latin typeface="Source Sans Pro"/>
                <a:ea typeface="Source Sans Pro"/>
                <a:cs typeface="Source Sans Pro"/>
                <a:sym typeface="Source Sans Pro"/>
              </a:rPr>
              <a:t>1095-B Legal Review</a:t>
            </a:r>
            <a:endParaRPr sz="850" b="0" i="0" u="none" strike="noStrike" cap="none">
              <a:solidFill>
                <a:srgbClr val="000000"/>
              </a:solidFill>
              <a:latin typeface="Source Sans Pro"/>
              <a:ea typeface="Source Sans Pro"/>
              <a:cs typeface="Source Sans Pro"/>
              <a:sym typeface="Source Sans Pro"/>
            </a:endParaRPr>
          </a:p>
        </p:txBody>
      </p:sp>
      <p:sp>
        <p:nvSpPr>
          <p:cNvPr id="104" name="Google Shape;401;p7">
            <a:extLst>
              <a:ext uri="{FF2B5EF4-FFF2-40B4-BE49-F238E27FC236}">
                <a16:creationId xmlns:a16="http://schemas.microsoft.com/office/drawing/2014/main" id="{552981D8-50F7-4937-0E3F-BC6E730EC5DF}"/>
              </a:ext>
            </a:extLst>
          </p:cNvPr>
          <p:cNvSpPr/>
          <p:nvPr/>
        </p:nvSpPr>
        <p:spPr>
          <a:xfrm>
            <a:off x="9520484" y="2567827"/>
            <a:ext cx="1959634" cy="204625"/>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850">
                <a:solidFill>
                  <a:srgbClr val="FDFFFD"/>
                </a:solidFill>
                <a:latin typeface="Source Sans Pro"/>
                <a:ea typeface="Source Sans Pro"/>
                <a:cs typeface="Source Sans Pro"/>
                <a:sym typeface="Source Sans Pro"/>
              </a:rPr>
              <a:t>1095-B Post Staging Cleanup</a:t>
            </a:r>
            <a:endParaRPr sz="850" b="0" i="0" u="none" strike="noStrike" cap="none">
              <a:solidFill>
                <a:srgbClr val="000000"/>
              </a:solidFill>
              <a:latin typeface="Source Sans Pro"/>
              <a:ea typeface="Source Sans Pro"/>
              <a:cs typeface="Source Sans Pro"/>
              <a:sym typeface="Source Sans Pro"/>
            </a:endParaRPr>
          </a:p>
        </p:txBody>
      </p:sp>
      <p:sp>
        <p:nvSpPr>
          <p:cNvPr id="105" name="Google Shape;401;p7">
            <a:extLst>
              <a:ext uri="{FF2B5EF4-FFF2-40B4-BE49-F238E27FC236}">
                <a16:creationId xmlns:a16="http://schemas.microsoft.com/office/drawing/2014/main" id="{7081EBAA-86A9-8CF7-28D9-CBE9738124D9}"/>
              </a:ext>
            </a:extLst>
          </p:cNvPr>
          <p:cNvSpPr/>
          <p:nvPr/>
        </p:nvSpPr>
        <p:spPr>
          <a:xfrm>
            <a:off x="9527672" y="2794269"/>
            <a:ext cx="1956040" cy="341209"/>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850">
                <a:solidFill>
                  <a:srgbClr val="FDFFFD"/>
                </a:solidFill>
                <a:latin typeface="Source Sans Pro"/>
                <a:ea typeface="Source Sans Pro"/>
                <a:cs typeface="Source Sans Pro"/>
                <a:sym typeface="Source Sans Pro"/>
              </a:rPr>
              <a:t>CC Discovery – Track Value, Complexity, Viability</a:t>
            </a:r>
            <a:endParaRPr lang="en-US" sz="850" b="0" i="0" u="none" strike="noStrike" cap="none">
              <a:solidFill>
                <a:srgbClr val="FDFFFD"/>
              </a:solidFill>
              <a:latin typeface="Source Sans Pro"/>
              <a:ea typeface="Source Sans Pro"/>
              <a:cs typeface="Source Sans Pro"/>
            </a:endParaRPr>
          </a:p>
        </p:txBody>
      </p:sp>
      <p:sp>
        <p:nvSpPr>
          <p:cNvPr id="106" name="Google Shape;413;p7">
            <a:extLst>
              <a:ext uri="{FF2B5EF4-FFF2-40B4-BE49-F238E27FC236}">
                <a16:creationId xmlns:a16="http://schemas.microsoft.com/office/drawing/2014/main" id="{303D77F6-DB63-2FBB-AA42-ABAD423B9571}"/>
              </a:ext>
            </a:extLst>
          </p:cNvPr>
          <p:cNvSpPr/>
          <p:nvPr/>
        </p:nvSpPr>
        <p:spPr>
          <a:xfrm>
            <a:off x="9523305" y="3837425"/>
            <a:ext cx="1961645" cy="286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rgbClr val="FDFFFD"/>
                </a:solidFill>
                <a:latin typeface="Source Sans Pro"/>
                <a:ea typeface="Source Sans Pro"/>
                <a:sym typeface="Source Sans Pro"/>
              </a:rPr>
              <a:t>Ongoing Journey Map Refinement</a:t>
            </a:r>
            <a:endParaRPr lang="en-US"/>
          </a:p>
        </p:txBody>
      </p:sp>
      <p:sp>
        <p:nvSpPr>
          <p:cNvPr id="107" name="Google Shape;413;p7">
            <a:extLst>
              <a:ext uri="{FF2B5EF4-FFF2-40B4-BE49-F238E27FC236}">
                <a16:creationId xmlns:a16="http://schemas.microsoft.com/office/drawing/2014/main" id="{0A60379C-4FFF-CD73-6CB8-5995C06FE3FB}"/>
              </a:ext>
            </a:extLst>
          </p:cNvPr>
          <p:cNvSpPr/>
          <p:nvPr/>
        </p:nvSpPr>
        <p:spPr>
          <a:xfrm>
            <a:off x="8276067" y="3837424"/>
            <a:ext cx="1228401" cy="286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rgbClr val="FDFFFD"/>
                </a:solidFill>
                <a:latin typeface="Source Sans Pro"/>
                <a:ea typeface="Source Sans Pro"/>
                <a:sym typeface="Source Sans Pro"/>
              </a:rPr>
              <a:t>Current State Journey Map</a:t>
            </a:r>
            <a:endParaRPr lang="en-US" sz="850">
              <a:solidFill>
                <a:srgbClr val="FDFFFD"/>
              </a:solidFill>
              <a:latin typeface="Source Sans Pro"/>
              <a:ea typeface="Source Sans Pro"/>
            </a:endParaRPr>
          </a:p>
        </p:txBody>
      </p:sp>
      <p:sp>
        <p:nvSpPr>
          <p:cNvPr id="108" name="Google Shape;401;p7">
            <a:extLst>
              <a:ext uri="{FF2B5EF4-FFF2-40B4-BE49-F238E27FC236}">
                <a16:creationId xmlns:a16="http://schemas.microsoft.com/office/drawing/2014/main" id="{AF5F9446-B049-9C9E-BC73-D65B274FF91F}"/>
              </a:ext>
            </a:extLst>
          </p:cNvPr>
          <p:cNvSpPr/>
          <p:nvPr/>
        </p:nvSpPr>
        <p:spPr>
          <a:xfrm>
            <a:off x="7982105" y="2794268"/>
            <a:ext cx="1517531" cy="341209"/>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850">
                <a:solidFill>
                  <a:srgbClr val="FDFFFD"/>
                </a:solidFill>
                <a:latin typeface="Source Sans Pro"/>
                <a:ea typeface="Source Sans Pro"/>
                <a:cs typeface="Source Sans Pro"/>
                <a:sym typeface="Source Sans Pro"/>
              </a:rPr>
              <a:t>CC Discovery</a:t>
            </a:r>
            <a:endParaRPr lang="en-US" sz="850" b="0" i="0" u="none" strike="noStrike" cap="none">
              <a:solidFill>
                <a:srgbClr val="FDFFFD"/>
              </a:solidFill>
              <a:latin typeface="Source Sans Pro"/>
              <a:ea typeface="Source Sans Pro"/>
              <a:cs typeface="Source Sans Pro"/>
            </a:endParaRPr>
          </a:p>
        </p:txBody>
      </p:sp>
      <p:sp>
        <p:nvSpPr>
          <p:cNvPr id="109" name="Google Shape;413;p7">
            <a:extLst>
              <a:ext uri="{FF2B5EF4-FFF2-40B4-BE49-F238E27FC236}">
                <a16:creationId xmlns:a16="http://schemas.microsoft.com/office/drawing/2014/main" id="{6E292932-316D-6000-7BD6-52E1C382C2BC}"/>
              </a:ext>
            </a:extLst>
          </p:cNvPr>
          <p:cNvSpPr/>
          <p:nvPr/>
        </p:nvSpPr>
        <p:spPr>
          <a:xfrm>
            <a:off x="8031652" y="3535499"/>
            <a:ext cx="1469221" cy="286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rgbClr val="FDFFFD"/>
                </a:solidFill>
                <a:latin typeface="Source Sans Pro"/>
                <a:ea typeface="Source Sans Pro"/>
                <a:sym typeface="Source Sans Pro"/>
              </a:rPr>
              <a:t>Stakeholder Interviews</a:t>
            </a:r>
            <a:endParaRPr lang="en-US"/>
          </a:p>
        </p:txBody>
      </p:sp>
    </p:spTree>
    <p:extLst>
      <p:ext uri="{BB962C8B-B14F-4D97-AF65-F5344CB8AC3E}">
        <p14:creationId xmlns:p14="http://schemas.microsoft.com/office/powerpoint/2010/main" val="1089841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850"/>
        <p:cNvGrpSpPr/>
        <p:nvPr/>
      </p:nvGrpSpPr>
      <p:grpSpPr>
        <a:xfrm>
          <a:off x="0" y="0"/>
          <a:ext cx="0" cy="0"/>
          <a:chOff x="0" y="0"/>
          <a:chExt cx="0" cy="0"/>
        </a:xfrm>
      </p:grpSpPr>
      <p:sp>
        <p:nvSpPr>
          <p:cNvPr id="851" name="Google Shape;851;p24"/>
          <p:cNvSpPr txBox="1">
            <a:spLocks noGrp="1"/>
          </p:cNvSpPr>
          <p:nvPr>
            <p:ph type="ctrTitle"/>
          </p:nvPr>
        </p:nvSpPr>
        <p:spPr>
          <a:xfrm>
            <a:off x="341868" y="3054671"/>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2"/>
              </a:buClr>
              <a:buSzPts val="6600"/>
              <a:buFont typeface="PT Serif"/>
              <a:buNone/>
            </a:pPr>
            <a:r>
              <a:rPr lang="en-US"/>
              <a:t>Appendix</a:t>
            </a:r>
            <a:endParaRPr/>
          </a:p>
        </p:txBody>
      </p:sp>
      <p:sp>
        <p:nvSpPr>
          <p:cNvPr id="852" name="Google Shape;852;p24"/>
          <p:cNvSpPr txBox="1">
            <a:spLocks noGrp="1"/>
          </p:cNvSpPr>
          <p:nvPr>
            <p:ph type="body" idx="1"/>
          </p:nvPr>
        </p:nvSpPr>
        <p:spPr>
          <a:xfrm>
            <a:off x="341868" y="2640272"/>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1600"/>
              <a:buNone/>
            </a:pPr>
            <a:r>
              <a:rPr lang="en-US"/>
              <a:t>SPRINT 5 DEMO</a:t>
            </a:r>
            <a:endParaRPr/>
          </a:p>
        </p:txBody>
      </p:sp>
      <p:sp>
        <p:nvSpPr>
          <p:cNvPr id="853" name="Google Shape;853;p24"/>
          <p:cNvSpPr txBox="1">
            <a:spLocks noGrp="1"/>
          </p:cNvSpPr>
          <p:nvPr>
            <p:ph type="sldNum" idx="12"/>
          </p:nvPr>
        </p:nvSpPr>
        <p:spPr>
          <a:xfrm>
            <a:off x="11453198" y="6370864"/>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31</a:t>
            </a:fld>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857"/>
        <p:cNvGrpSpPr/>
        <p:nvPr/>
      </p:nvGrpSpPr>
      <p:grpSpPr>
        <a:xfrm>
          <a:off x="0" y="0"/>
          <a:ext cx="0" cy="0"/>
          <a:chOff x="0" y="0"/>
          <a:chExt cx="0" cy="0"/>
        </a:xfrm>
      </p:grpSpPr>
      <p:graphicFrame>
        <p:nvGraphicFramePr>
          <p:cNvPr id="858" name="Google Shape;858;p25"/>
          <p:cNvGraphicFramePr/>
          <p:nvPr>
            <p:extLst>
              <p:ext uri="{D42A27DB-BD31-4B8C-83A1-F6EECF244321}">
                <p14:modId xmlns:p14="http://schemas.microsoft.com/office/powerpoint/2010/main" val="3031332032"/>
              </p:ext>
            </p:extLst>
          </p:nvPr>
        </p:nvGraphicFramePr>
        <p:xfrm>
          <a:off x="6981707" y="1398809"/>
          <a:ext cx="4742782" cy="5008870"/>
        </p:xfrm>
        <a:graphic>
          <a:graphicData uri="http://schemas.openxmlformats.org/drawingml/2006/table">
            <a:tbl>
              <a:tblPr firstRow="1" bandRow="1">
                <a:noFill/>
                <a:tableStyleId>{AC820A2F-F511-4E25-9DDC-E36724F9A483}</a:tableStyleId>
              </a:tblPr>
              <a:tblGrid>
                <a:gridCol w="99713">
                  <a:extLst>
                    <a:ext uri="{9D8B030D-6E8A-4147-A177-3AD203B41FA5}">
                      <a16:colId xmlns:a16="http://schemas.microsoft.com/office/drawing/2014/main" val="20000"/>
                    </a:ext>
                  </a:extLst>
                </a:gridCol>
                <a:gridCol w="4643069">
                  <a:extLst>
                    <a:ext uri="{9D8B030D-6E8A-4147-A177-3AD203B41FA5}">
                      <a16:colId xmlns:a16="http://schemas.microsoft.com/office/drawing/2014/main" val="20001"/>
                    </a:ext>
                  </a:extLst>
                </a:gridCol>
              </a:tblGrid>
              <a:tr h="3592879">
                <a:tc>
                  <a:txBody>
                    <a:bodyPr/>
                    <a:lstStyle/>
                    <a:p>
                      <a:pPr marL="0" marR="0" lvl="0" indent="0" algn="l" rtl="0">
                        <a:spcBef>
                          <a:spcPts val="0"/>
                        </a:spcBef>
                        <a:spcAft>
                          <a:spcPts val="0"/>
                        </a:spcAft>
                        <a:buNone/>
                      </a:pPr>
                      <a:endParaRPr sz="1800"/>
                    </a:p>
                  </a:txBody>
                  <a:tcPr marL="0" marR="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chemeClr val="accent2"/>
                    </a:solidFill>
                  </a:tcPr>
                </a:tc>
                <a:tc>
                  <a:txBody>
                    <a:bodyPr/>
                    <a:lstStyle/>
                    <a:p>
                      <a:pPr marL="0" marR="0" lvl="0" indent="0" algn="l" rtl="0">
                        <a:spcBef>
                          <a:spcPts val="0"/>
                        </a:spcBef>
                        <a:spcAft>
                          <a:spcPts val="0"/>
                        </a:spcAft>
                        <a:buNone/>
                      </a:pPr>
                      <a:r>
                        <a:rPr lang="en-US" sz="1600" b="0">
                          <a:solidFill>
                            <a:schemeClr val="dk1"/>
                          </a:solidFill>
                          <a:latin typeface="PT Serif"/>
                          <a:ea typeface="PT Serif"/>
                          <a:cs typeface="PT Serif"/>
                          <a:sym typeface="PT Serif"/>
                        </a:rPr>
                        <a:t>Velocity details</a:t>
                      </a:r>
                      <a:endParaRPr/>
                    </a:p>
                    <a:p>
                      <a:pPr marL="171450" marR="0" lvl="0" indent="-171450" algn="l" rtl="0">
                        <a:spcBef>
                          <a:spcPts val="1000"/>
                        </a:spcBef>
                        <a:spcAft>
                          <a:spcPts val="0"/>
                        </a:spcAft>
                        <a:buClr>
                          <a:schemeClr val="accent2"/>
                        </a:buClr>
                        <a:buSzPts val="960"/>
                        <a:buFont typeface="Noto Sans Symbols"/>
                        <a:buChar char="▪"/>
                      </a:pPr>
                      <a:r>
                        <a:rPr lang="en-US" sz="1200" b="0">
                          <a:solidFill>
                            <a:schemeClr val="dk2"/>
                          </a:solidFill>
                          <a:latin typeface="Source Sans Pro"/>
                          <a:ea typeface="Source Sans Pro"/>
                          <a:cs typeface="Source Sans Pro"/>
                          <a:sym typeface="Source Sans Pro"/>
                        </a:rPr>
                        <a:t>Velocity estimated in story points, using Fibonacci</a:t>
                      </a:r>
                      <a:endParaRPr/>
                    </a:p>
                    <a:p>
                      <a:pPr marL="171450" marR="0" lvl="0" indent="-171450" algn="l">
                        <a:spcBef>
                          <a:spcPts val="1000"/>
                        </a:spcBef>
                        <a:spcAft>
                          <a:spcPts val="0"/>
                        </a:spcAft>
                        <a:buClr>
                          <a:srgbClr val="0071BF"/>
                        </a:buClr>
                        <a:buSzPts val="960"/>
                        <a:buFont typeface="Noto Sans Symbols"/>
                        <a:buChar char="▪"/>
                      </a:pPr>
                      <a:r>
                        <a:rPr lang="en-US" sz="1200" b="0">
                          <a:solidFill>
                            <a:schemeClr val="dk2"/>
                          </a:solidFill>
                          <a:latin typeface="Source Sans Pro"/>
                          <a:ea typeface="Source Sans Pro"/>
                        </a:rPr>
                        <a:t>Velocity in Sprint 5 accounted for 10 team members</a:t>
                      </a:r>
                      <a:endParaRPr lang="en-US" sz="1200" b="0">
                        <a:solidFill>
                          <a:schemeClr val="dk2"/>
                        </a:solidFill>
                        <a:latin typeface="Source Sans Pro"/>
                        <a:ea typeface="Source Sans Pro"/>
                        <a:cs typeface="Source Sans Pro"/>
                      </a:endParaRPr>
                    </a:p>
                    <a:p>
                      <a:pPr marL="171450" marR="0" lvl="3" indent="-171450" algn="l">
                        <a:spcBef>
                          <a:spcPts val="600"/>
                        </a:spcBef>
                        <a:spcAft>
                          <a:spcPts val="0"/>
                        </a:spcAft>
                        <a:buClr>
                          <a:srgbClr val="0071BF"/>
                        </a:buClr>
                        <a:buSzPts val="960"/>
                        <a:buFont typeface="Noto Sans Symbols"/>
                        <a:buChar char="▪"/>
                      </a:pPr>
                      <a:r>
                        <a:rPr lang="en-US" sz="1200" b="0">
                          <a:solidFill>
                            <a:schemeClr val="dk2"/>
                          </a:solidFill>
                          <a:latin typeface="Source Sans Pro"/>
                          <a:ea typeface="Source Sans Pro"/>
                          <a:cs typeface="Source Sans Pro"/>
                        </a:rPr>
                        <a:t>75 total story points were completed;  Team committed to 67 </a:t>
                      </a:r>
                      <a:r>
                        <a:rPr lang="en-US" sz="1200" b="0">
                          <a:solidFill>
                            <a:schemeClr val="dk2"/>
                          </a:solidFill>
                          <a:latin typeface="Source Sans Pro"/>
                          <a:ea typeface="Source Sans Pro"/>
                          <a:cs typeface="Source Sans Pro"/>
                          <a:sym typeface="Source Sans Pro"/>
                        </a:rPr>
                        <a:t>story points</a:t>
                      </a:r>
                      <a:r>
                        <a:rPr lang="en-US" sz="1200" b="0">
                          <a:solidFill>
                            <a:schemeClr val="dk2"/>
                          </a:solidFill>
                          <a:latin typeface="Source Sans Pro"/>
                          <a:ea typeface="Source Sans Pro"/>
                          <a:cs typeface="Source Sans Pro"/>
                        </a:rPr>
                        <a:t> </a:t>
                      </a:r>
                      <a:r>
                        <a:rPr lang="en-US" sz="1200" b="0">
                          <a:solidFill>
                            <a:schemeClr val="dk2"/>
                          </a:solidFill>
                          <a:latin typeface="Source Sans Pro"/>
                          <a:ea typeface="Source Sans Pro"/>
                          <a:cs typeface="Source Sans Pro"/>
                          <a:sym typeface="Source Sans Pro"/>
                        </a:rPr>
                        <a:t> at beginning of the sprint, 9 were blocked, 8 no longer relevant, and 25 additional story points added</a:t>
                      </a:r>
                      <a:r>
                        <a:rPr lang="en-US" sz="1200" b="0">
                          <a:solidFill>
                            <a:schemeClr val="dk2"/>
                          </a:solidFill>
                          <a:latin typeface="Source Sans Pro"/>
                          <a:ea typeface="Source Sans Pro"/>
                          <a:cs typeface="Source Sans Pro"/>
                        </a:rPr>
                        <a:t>. </a:t>
                      </a:r>
                      <a:endParaRPr lang="en-US" sz="1200" b="0" i="0" u="none" strike="noStrike" cap="none">
                        <a:solidFill>
                          <a:schemeClr val="dk2"/>
                        </a:solidFill>
                        <a:latin typeface="Source Sans Pro"/>
                        <a:ea typeface="Source Sans Pro"/>
                        <a:cs typeface="Calibri"/>
                        <a:sym typeface="Arial"/>
                      </a:endParaRPr>
                    </a:p>
                    <a:p>
                      <a:pPr marL="344170" marR="0" lvl="0" indent="-166370" algn="l" rtl="0">
                        <a:spcBef>
                          <a:spcPts val="600"/>
                        </a:spcBef>
                        <a:spcAft>
                          <a:spcPts val="0"/>
                        </a:spcAft>
                        <a:buClr>
                          <a:srgbClr val="0071BF"/>
                        </a:buClr>
                        <a:buSzPts val="960"/>
                        <a:buFont typeface="Noto Sans Symbols"/>
                        <a:buChar char="▪"/>
                      </a:pPr>
                      <a:r>
                        <a:rPr lang="en-US" sz="1200" b="0" i="0" u="none" strike="noStrike" cap="none">
                          <a:solidFill>
                            <a:schemeClr val="dk2"/>
                          </a:solidFill>
                          <a:latin typeface="Source Sans Pro"/>
                          <a:ea typeface="Source Sans Pro"/>
                          <a:cs typeface="Calibri"/>
                          <a:sym typeface="Arial"/>
                        </a:rPr>
                        <a:t>9 story point blocked due to postponement of staging review and have been added to next sprint work </a:t>
                      </a:r>
                    </a:p>
                    <a:p>
                      <a:pPr marL="344170" marR="0" lvl="0" indent="-166370" algn="l" rtl="0">
                        <a:spcBef>
                          <a:spcPts val="600"/>
                        </a:spcBef>
                        <a:spcAft>
                          <a:spcPts val="0"/>
                        </a:spcAft>
                        <a:buClr>
                          <a:srgbClr val="0071BF"/>
                        </a:buClr>
                        <a:buSzPts val="960"/>
                        <a:buFont typeface="Noto Sans Symbols"/>
                        <a:buChar char="▪"/>
                      </a:pPr>
                      <a:r>
                        <a:rPr lang="en-US" sz="1200" b="0" i="0" u="none" strike="noStrike" cap="none">
                          <a:solidFill>
                            <a:schemeClr val="dk2"/>
                          </a:solidFill>
                          <a:latin typeface="Source Sans Pro"/>
                          <a:ea typeface="Source Sans Pro"/>
                          <a:cs typeface="Calibri"/>
                          <a:sym typeface="Arial"/>
                        </a:rPr>
                        <a:t>8 story points were removed due to being superseded / enveloped by other stories </a:t>
                      </a:r>
                    </a:p>
                    <a:p>
                      <a:pPr marL="344170" marR="0" lvl="0" indent="-166370" algn="l" rtl="0">
                        <a:spcBef>
                          <a:spcPts val="600"/>
                        </a:spcBef>
                        <a:spcAft>
                          <a:spcPts val="0"/>
                        </a:spcAft>
                        <a:buClr>
                          <a:srgbClr val="0071BF"/>
                        </a:buClr>
                        <a:buSzPts val="960"/>
                        <a:buFont typeface="Noto Sans Symbols"/>
                        <a:buChar char="▪"/>
                      </a:pPr>
                      <a:r>
                        <a:rPr lang="en-US" sz="1200" b="0">
                          <a:solidFill>
                            <a:schemeClr val="dk2"/>
                          </a:solidFill>
                          <a:latin typeface="Source Sans Pro"/>
                          <a:ea typeface="Source Sans Pro"/>
                        </a:rPr>
                        <a:t>25 story points were added with two stories brought forward due to tech capacity (5), three stories were added midcycle by business owner request (7), three stories were created midcycle after receiving new knowledge in accessibility discovery and developing community care exploration (12), and one story was added for platform offboarding (1).</a:t>
                      </a:r>
                    </a:p>
                    <a:p>
                      <a:pPr marL="344170" marR="0" lvl="0" indent="-166370" algn="l" rtl="0">
                        <a:spcBef>
                          <a:spcPts val="600"/>
                        </a:spcBef>
                        <a:spcAft>
                          <a:spcPts val="0"/>
                        </a:spcAft>
                        <a:buClr>
                          <a:srgbClr val="0071BF"/>
                        </a:buClr>
                        <a:buSzPts val="960"/>
                        <a:buFont typeface="Noto Sans Symbols"/>
                        <a:buChar char="▪"/>
                      </a:pPr>
                      <a:r>
                        <a:rPr lang="en-US" sz="1200" b="0">
                          <a:solidFill>
                            <a:schemeClr val="dk2"/>
                          </a:solidFill>
                          <a:latin typeface="Source Sans Pro"/>
                          <a:ea typeface="Source Sans Pro"/>
                        </a:rPr>
                        <a:t>All collaboration cycle events were not assigned story points</a:t>
                      </a:r>
                    </a:p>
                    <a:p>
                      <a:pPr marL="177800" marR="0" lvl="0" indent="0" algn="l" rtl="0">
                        <a:spcBef>
                          <a:spcPts val="600"/>
                        </a:spcBef>
                        <a:spcAft>
                          <a:spcPts val="0"/>
                        </a:spcAft>
                        <a:buClr>
                          <a:srgbClr val="0071BF"/>
                        </a:buClr>
                        <a:buSzPts val="960"/>
                        <a:buFont typeface="Noto Sans Symbols"/>
                        <a:buNone/>
                      </a:pPr>
                      <a:endParaRPr lang="en-US" sz="1200" b="0">
                        <a:solidFill>
                          <a:schemeClr val="dk2"/>
                        </a:solidFill>
                        <a:latin typeface="Source Sans Pro"/>
                        <a:ea typeface="Source Sans Pro"/>
                      </a:endParaRPr>
                    </a:p>
                    <a:p>
                      <a:pPr marL="177800" marR="0" lvl="0" indent="0" algn="l" rtl="0">
                        <a:spcBef>
                          <a:spcPts val="600"/>
                        </a:spcBef>
                        <a:spcAft>
                          <a:spcPts val="0"/>
                        </a:spcAft>
                        <a:buClr>
                          <a:srgbClr val="0071BF"/>
                        </a:buClr>
                        <a:buSzPts val="960"/>
                        <a:buFont typeface="Noto Sans Symbols"/>
                        <a:buNone/>
                      </a:pPr>
                      <a:r>
                        <a:rPr lang="en-US" sz="1100" b="0" i="1">
                          <a:solidFill>
                            <a:schemeClr val="dk2"/>
                          </a:solidFill>
                          <a:latin typeface="Source Sans Pro"/>
                          <a:ea typeface="Source Sans Pro"/>
                        </a:rPr>
                        <a:t>* 9 story points are not accounted for in deliverables slides (24-26); VA platform onboarding /offboarding (6), collaboration cycle feedback Mural (3)</a:t>
                      </a:r>
                    </a:p>
                  </a:txBody>
                  <a:tcPr marL="182875" marR="182875" marT="182875" marB="18287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E8E8E8"/>
                    </a:solidFill>
                  </a:tcPr>
                </a:tc>
                <a:extLst>
                  <a:ext uri="{0D108BD9-81ED-4DB2-BD59-A6C34878D82A}">
                    <a16:rowId xmlns:a16="http://schemas.microsoft.com/office/drawing/2014/main" val="10000"/>
                  </a:ext>
                </a:extLst>
              </a:tr>
            </a:tbl>
          </a:graphicData>
        </a:graphic>
      </p:graphicFrame>
      <p:sp>
        <p:nvSpPr>
          <p:cNvPr id="859" name="Google Shape;859;p25"/>
          <p:cNvSpPr txBox="1"/>
          <p:nvPr/>
        </p:nvSpPr>
        <p:spPr>
          <a:xfrm>
            <a:off x="11521463" y="6410593"/>
            <a:ext cx="406052" cy="3651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fld id="{00000000-1234-1234-1234-123412341234}" type="slidenum">
              <a:rPr lang="en-US" sz="1200">
                <a:solidFill>
                  <a:srgbClr val="8F8F8F"/>
                </a:solidFill>
                <a:latin typeface="Source Sans Pro"/>
                <a:ea typeface="Source Sans Pro"/>
                <a:cs typeface="Source Sans Pro"/>
                <a:sym typeface="Source Sans Pro"/>
              </a:rPr>
              <a:t>32</a:t>
            </a:fld>
            <a:endParaRPr sz="1200">
              <a:solidFill>
                <a:srgbClr val="8F8F8F"/>
              </a:solidFill>
              <a:latin typeface="Source Sans Pro"/>
              <a:ea typeface="Source Sans Pro"/>
              <a:cs typeface="Source Sans Pro"/>
              <a:sym typeface="Source Sans Pro"/>
            </a:endParaRPr>
          </a:p>
        </p:txBody>
      </p:sp>
      <p:sp>
        <p:nvSpPr>
          <p:cNvPr id="860" name="Google Shape;860;p25"/>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Source Sans Pro"/>
                <a:sym typeface="Source Sans Pro"/>
              </a:rPr>
              <a:t>Appendix</a:t>
            </a:r>
            <a:endParaRPr sz="1800">
              <a:solidFill>
                <a:schemeClr val="dk1"/>
              </a:solidFill>
              <a:latin typeface="Calibri"/>
              <a:ea typeface="Calibri"/>
              <a:cs typeface="Calibri"/>
              <a:sym typeface="Calibri"/>
            </a:endParaRPr>
          </a:p>
        </p:txBody>
      </p:sp>
      <p:sp>
        <p:nvSpPr>
          <p:cNvPr id="861" name="Google Shape;861;p25"/>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4-05 Sprint 5 Demo</a:t>
            </a:r>
            <a:endParaRPr sz="1200">
              <a:solidFill>
                <a:srgbClr val="747C74"/>
              </a:solidFill>
              <a:latin typeface="Calibri"/>
              <a:ea typeface="Calibri"/>
              <a:cs typeface="Calibri"/>
              <a:sym typeface="Calibri"/>
            </a:endParaRPr>
          </a:p>
        </p:txBody>
      </p:sp>
      <p:sp>
        <p:nvSpPr>
          <p:cNvPr id="865" name="Google Shape;865;p25"/>
          <p:cNvSpPr txBox="1"/>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marR="0" lvl="0" indent="0" algn="l" rtl="0">
              <a:lnSpc>
                <a:spcPct val="90000"/>
              </a:lnSpc>
              <a:spcBef>
                <a:spcPts val="0"/>
              </a:spcBef>
              <a:spcAft>
                <a:spcPts val="0"/>
              </a:spcAft>
              <a:buClr>
                <a:schemeClr val="dk1"/>
              </a:buClr>
              <a:buSzPts val="3600"/>
              <a:buFont typeface="PT Serif"/>
              <a:buNone/>
            </a:pPr>
            <a:r>
              <a:rPr lang="en-US" sz="3600">
                <a:solidFill>
                  <a:schemeClr val="dk1"/>
                </a:solidFill>
                <a:latin typeface="PT Serif"/>
                <a:ea typeface="PT Serif"/>
                <a:cs typeface="PT Serif"/>
                <a:sym typeface="PT Serif"/>
              </a:rPr>
              <a:t>1095-B Sprint team velocity</a:t>
            </a:r>
            <a:endParaRPr/>
          </a:p>
        </p:txBody>
      </p:sp>
      <p:pic>
        <p:nvPicPr>
          <p:cNvPr id="3" name="Picture 2">
            <a:extLst>
              <a:ext uri="{FF2B5EF4-FFF2-40B4-BE49-F238E27FC236}">
                <a16:creationId xmlns:a16="http://schemas.microsoft.com/office/drawing/2014/main" id="{BF51D7E1-305B-471D-B2E7-58EAE7B022E5}"/>
              </a:ext>
            </a:extLst>
          </p:cNvPr>
          <p:cNvPicPr>
            <a:picLocks noChangeAspect="1"/>
          </p:cNvPicPr>
          <p:nvPr/>
        </p:nvPicPr>
        <p:blipFill>
          <a:blip r:embed="rId3"/>
          <a:stretch>
            <a:fillRect/>
          </a:stretch>
        </p:blipFill>
        <p:spPr>
          <a:xfrm>
            <a:off x="312812" y="2658980"/>
            <a:ext cx="6040116" cy="3162782"/>
          </a:xfrm>
          <a:prstGeom prst="rect">
            <a:avLst/>
          </a:prstGeom>
          <a:ln>
            <a:noFill/>
          </a:ln>
        </p:spPr>
      </p:pic>
      <p:sp>
        <p:nvSpPr>
          <p:cNvPr id="863" name="Google Shape;863;p25"/>
          <p:cNvSpPr/>
          <p:nvPr/>
        </p:nvSpPr>
        <p:spPr>
          <a:xfrm>
            <a:off x="5275984" y="3286421"/>
            <a:ext cx="925815" cy="1885857"/>
          </a:xfrm>
          <a:prstGeom prst="rect">
            <a:avLst/>
          </a:prstGeom>
          <a:noFill/>
          <a:ln w="127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chemeClr val="dk1"/>
              </a:solidFill>
              <a:latin typeface="PT Serif"/>
              <a:ea typeface="PT Serif"/>
              <a:cs typeface="PT Serif"/>
              <a:sym typeface="PT Serif"/>
            </a:endParaRPr>
          </a:p>
        </p:txBody>
      </p:sp>
      <p:cxnSp>
        <p:nvCxnSpPr>
          <p:cNvPr id="864" name="Google Shape;864;p25"/>
          <p:cNvCxnSpPr>
            <a:cxnSpLocks/>
          </p:cNvCxnSpPr>
          <p:nvPr/>
        </p:nvCxnSpPr>
        <p:spPr>
          <a:xfrm flipV="1">
            <a:off x="6201799" y="1617403"/>
            <a:ext cx="798749" cy="1669018"/>
          </a:xfrm>
          <a:prstGeom prst="straightConnector1">
            <a:avLst/>
          </a:prstGeom>
          <a:noFill/>
          <a:ln w="9525" cap="flat" cmpd="sng">
            <a:solidFill>
              <a:schemeClr val="accent2"/>
            </a:solidFill>
            <a:prstDash val="solid"/>
            <a:miter lim="800000"/>
            <a:headEnd type="none" w="sm" len="sm"/>
            <a:tailEnd type="none" w="sm" len="sm"/>
          </a:ln>
        </p:spPr>
      </p:cxn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925"/>
        <p:cNvGrpSpPr/>
        <p:nvPr/>
      </p:nvGrpSpPr>
      <p:grpSpPr>
        <a:xfrm>
          <a:off x="0" y="0"/>
          <a:ext cx="0" cy="0"/>
          <a:chOff x="0" y="0"/>
          <a:chExt cx="0" cy="0"/>
        </a:xfrm>
      </p:grpSpPr>
      <p:sp>
        <p:nvSpPr>
          <p:cNvPr id="926" name="Google Shape;926;p28"/>
          <p:cNvSpPr txBox="1">
            <a:spLocks noGrp="1"/>
          </p:cNvSpPr>
          <p:nvPr>
            <p:ph type="title"/>
          </p:nvPr>
        </p:nvSpPr>
        <p:spPr>
          <a:xfrm>
            <a:off x="319486" y="373490"/>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Project risks and mitigation strategies</a:t>
            </a:r>
            <a:endParaRPr/>
          </a:p>
        </p:txBody>
      </p:sp>
      <p:sp>
        <p:nvSpPr>
          <p:cNvPr id="927" name="Google Shape;927;p28"/>
          <p:cNvSpPr txBox="1"/>
          <p:nvPr/>
        </p:nvSpPr>
        <p:spPr>
          <a:xfrm>
            <a:off x="11521463" y="6410593"/>
            <a:ext cx="406052" cy="3651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fld id="{00000000-1234-1234-1234-123412341234}" type="slidenum">
              <a:rPr lang="en-US" sz="1200" dirty="0">
                <a:solidFill>
                  <a:srgbClr val="8F8F8F"/>
                </a:solidFill>
                <a:latin typeface="Source Sans Pro"/>
                <a:ea typeface="Source Sans Pro"/>
                <a:cs typeface="Source Sans Pro"/>
                <a:sym typeface="Source Sans Pro"/>
              </a:rPr>
              <a:t>33</a:t>
            </a:fld>
            <a:endParaRPr sz="1200">
              <a:solidFill>
                <a:srgbClr val="8F8F8F"/>
              </a:solidFill>
              <a:latin typeface="Source Sans Pro"/>
              <a:ea typeface="Source Sans Pro"/>
              <a:cs typeface="Source Sans Pro"/>
              <a:sym typeface="Source Sans Pro"/>
            </a:endParaRPr>
          </a:p>
        </p:txBody>
      </p:sp>
      <p:sp>
        <p:nvSpPr>
          <p:cNvPr id="928" name="Google Shape;928;p28"/>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1200">
                <a:solidFill>
                  <a:srgbClr val="747C74"/>
                </a:solidFill>
                <a:latin typeface="Source Sans Pro"/>
                <a:ea typeface="Source Sans Pro"/>
                <a:cs typeface="Source Sans Pro"/>
                <a:sym typeface="Source Sans Pro"/>
              </a:rPr>
              <a:t>Appendix</a:t>
            </a:r>
            <a:endParaRPr sz="1200">
              <a:solidFill>
                <a:schemeClr val="dk1"/>
              </a:solidFill>
              <a:latin typeface="Calibri"/>
              <a:ea typeface="Calibri"/>
              <a:cs typeface="Calibri"/>
              <a:sym typeface="Calibri"/>
            </a:endParaRPr>
          </a:p>
        </p:txBody>
      </p:sp>
      <p:sp>
        <p:nvSpPr>
          <p:cNvPr id="929" name="Google Shape;929;p28"/>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4-05 Sprint 5 Demo</a:t>
            </a:r>
            <a:endParaRPr sz="1200">
              <a:solidFill>
                <a:srgbClr val="747C74"/>
              </a:solidFill>
              <a:latin typeface="Calibri"/>
              <a:ea typeface="Calibri"/>
              <a:cs typeface="Calibri"/>
              <a:sym typeface="Calibri"/>
            </a:endParaRPr>
          </a:p>
        </p:txBody>
      </p:sp>
      <p:graphicFrame>
        <p:nvGraphicFramePr>
          <p:cNvPr id="930" name="Google Shape;930;p28"/>
          <p:cNvGraphicFramePr/>
          <p:nvPr>
            <p:extLst>
              <p:ext uri="{D42A27DB-BD31-4B8C-83A1-F6EECF244321}">
                <p14:modId xmlns:p14="http://schemas.microsoft.com/office/powerpoint/2010/main" val="1339822421"/>
              </p:ext>
            </p:extLst>
          </p:nvPr>
        </p:nvGraphicFramePr>
        <p:xfrm>
          <a:off x="419074" y="1266309"/>
          <a:ext cx="11353799" cy="5928280"/>
        </p:xfrm>
        <a:graphic>
          <a:graphicData uri="http://schemas.openxmlformats.org/drawingml/2006/table">
            <a:tbl>
              <a:tblPr>
                <a:noFill/>
                <a:tableStyleId>{1F4BC13E-62C9-4DB2-9D77-78E559E1D0AC}</a:tableStyleId>
              </a:tblPr>
              <a:tblGrid>
                <a:gridCol w="3425512">
                  <a:extLst>
                    <a:ext uri="{9D8B030D-6E8A-4147-A177-3AD203B41FA5}">
                      <a16:colId xmlns:a16="http://schemas.microsoft.com/office/drawing/2014/main" val="20000"/>
                    </a:ext>
                  </a:extLst>
                </a:gridCol>
                <a:gridCol w="3805879">
                  <a:extLst>
                    <a:ext uri="{9D8B030D-6E8A-4147-A177-3AD203B41FA5}">
                      <a16:colId xmlns:a16="http://schemas.microsoft.com/office/drawing/2014/main" val="20001"/>
                    </a:ext>
                  </a:extLst>
                </a:gridCol>
                <a:gridCol w="629925">
                  <a:extLst>
                    <a:ext uri="{9D8B030D-6E8A-4147-A177-3AD203B41FA5}">
                      <a16:colId xmlns:a16="http://schemas.microsoft.com/office/drawing/2014/main" val="20002"/>
                    </a:ext>
                  </a:extLst>
                </a:gridCol>
                <a:gridCol w="601726">
                  <a:extLst>
                    <a:ext uri="{9D8B030D-6E8A-4147-A177-3AD203B41FA5}">
                      <a16:colId xmlns:a16="http://schemas.microsoft.com/office/drawing/2014/main" val="20003"/>
                    </a:ext>
                  </a:extLst>
                </a:gridCol>
                <a:gridCol w="560702">
                  <a:extLst>
                    <a:ext uri="{9D8B030D-6E8A-4147-A177-3AD203B41FA5}">
                      <a16:colId xmlns:a16="http://schemas.microsoft.com/office/drawing/2014/main" val="20004"/>
                    </a:ext>
                  </a:extLst>
                </a:gridCol>
                <a:gridCol w="2330055">
                  <a:extLst>
                    <a:ext uri="{9D8B030D-6E8A-4147-A177-3AD203B41FA5}">
                      <a16:colId xmlns:a16="http://schemas.microsoft.com/office/drawing/2014/main" val="20005"/>
                    </a:ext>
                  </a:extLst>
                </a:gridCol>
              </a:tblGrid>
              <a:tr h="202775">
                <a:tc rowSpan="2">
                  <a:txBody>
                    <a:bodyPr/>
                    <a:lstStyle/>
                    <a:p>
                      <a:pPr marL="0" marR="0" lvl="0" indent="0" algn="l" rtl="0">
                        <a:lnSpc>
                          <a:spcPct val="115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RISK AND IMPACT</a:t>
                      </a:r>
                      <a:endParaRPr/>
                    </a:p>
                  </a:txBody>
                  <a:tcPr marL="24375" marR="91450" marT="24375" marB="243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rowSpan="2">
                  <a:txBody>
                    <a:bodyPr/>
                    <a:lstStyle/>
                    <a:p>
                      <a:pPr marL="0" marR="0" lvl="0" indent="0" algn="l" rtl="0">
                        <a:lnSpc>
                          <a:spcPct val="115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MITIGATION STRATEGY</a:t>
                      </a:r>
                      <a:endParaRPr/>
                    </a:p>
                  </a:txBody>
                  <a:tcPr marL="24375" marR="24375" marT="24375" marB="243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gridSpan="2">
                  <a:txBody>
                    <a:bodyPr/>
                    <a:lstStyle/>
                    <a:p>
                      <a:pPr marL="0" marR="0" lvl="0" indent="0" algn="ctr" rtl="0">
                        <a:lnSpc>
                          <a:spcPct val="100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DATE</a:t>
                      </a:r>
                      <a:endParaRPr/>
                    </a:p>
                  </a:txBody>
                  <a:tcPr marL="24375" marR="24375" marT="24375" marB="2437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hMerge="1">
                  <a:txBody>
                    <a:bodyPr/>
                    <a:lstStyle/>
                    <a:p>
                      <a:endParaRPr lang="en-US"/>
                    </a:p>
                  </a:txBody>
                  <a:tcPr/>
                </a:tc>
                <a:tc rowSpan="2">
                  <a:txBody>
                    <a:bodyPr/>
                    <a:lstStyle/>
                    <a:p>
                      <a:pPr marL="0" marR="0" lvl="0" indent="0" algn="ctr" rtl="0">
                        <a:lnSpc>
                          <a:spcPct val="100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STATUS</a:t>
                      </a:r>
                      <a:endParaRPr/>
                    </a:p>
                  </a:txBody>
                  <a:tcPr marL="24375" marR="24375" marT="24375" marB="243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19050" cap="flat" cmpd="sng">
                      <a:solidFill>
                        <a:srgbClr val="FFFFFF"/>
                      </a:solidFill>
                      <a:prstDash val="solid"/>
                      <a:round/>
                      <a:headEnd type="none" w="sm" len="sm"/>
                      <a:tailEnd type="none" w="sm" len="sm"/>
                    </a:lnB>
                  </a:tcPr>
                </a:tc>
                <a:tc rowSpan="2">
                  <a:txBody>
                    <a:bodyPr/>
                    <a:lstStyle/>
                    <a:p>
                      <a:pPr marL="0" marR="0" lvl="0" indent="0" algn="l" rtl="0">
                        <a:lnSpc>
                          <a:spcPct val="100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NOTES</a:t>
                      </a:r>
                      <a:endParaRPr/>
                    </a:p>
                  </a:txBody>
                  <a:tcPr marL="91450" marR="24375" marT="24375" marB="24375" anchor="ctr">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extLst>
                  <a:ext uri="{0D108BD9-81ED-4DB2-BD59-A6C34878D82A}">
                    <a16:rowId xmlns:a16="http://schemas.microsoft.com/office/drawing/2014/main" val="10000"/>
                  </a:ext>
                </a:extLst>
              </a:tr>
              <a:tr h="198750">
                <a:tc vMerge="1">
                  <a:txBody>
                    <a:bodyPr/>
                    <a:lstStyle/>
                    <a:p>
                      <a:endParaRPr lang="en-US"/>
                    </a:p>
                  </a:txBody>
                  <a:tcPr/>
                </a:tc>
                <a:tc vMerge="1">
                  <a:txBody>
                    <a:bodyPr/>
                    <a:lstStyle/>
                    <a:p>
                      <a:endParaRPr lang="en-US"/>
                    </a:p>
                  </a:txBody>
                  <a:tcPr/>
                </a:tc>
                <a:tc>
                  <a:txBody>
                    <a:bodyPr/>
                    <a:lstStyle/>
                    <a:p>
                      <a:pPr marL="0" marR="0" lvl="0" indent="0" algn="ctr" rtl="0">
                        <a:lnSpc>
                          <a:spcPct val="100000"/>
                        </a:lnSpc>
                        <a:spcBef>
                          <a:spcPts val="0"/>
                        </a:spcBef>
                        <a:spcAft>
                          <a:spcPts val="0"/>
                        </a:spcAft>
                        <a:buClr>
                          <a:srgbClr val="000000"/>
                        </a:buClr>
                        <a:buSzPts val="9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ENTERED</a:t>
                      </a:r>
                      <a:endParaRPr/>
                    </a:p>
                  </a:txBody>
                  <a:tcPr marL="24375" marR="24375" marT="24375" marB="2437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4B5C90">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9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CLOSED</a:t>
                      </a:r>
                      <a:endParaRPr/>
                    </a:p>
                  </a:txBody>
                  <a:tcPr marL="24375" marR="24375" marT="24375" marB="2437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4B5C90">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r h="395975">
                <a:tc>
                  <a:txBody>
                    <a:bodyPr/>
                    <a:lstStyle/>
                    <a:p>
                      <a:pPr marL="0" marR="0" lvl="0" indent="0" algn="l" rtl="0">
                        <a:lnSpc>
                          <a:spcPct val="100000"/>
                        </a:lnSpc>
                        <a:spcBef>
                          <a:spcPts val="0"/>
                        </a:spcBef>
                        <a:spcAft>
                          <a:spcPts val="0"/>
                        </a:spcAft>
                        <a:buClr>
                          <a:srgbClr val="000000"/>
                        </a:buClr>
                        <a:buSzPts val="800"/>
                        <a:buFont typeface="Arial"/>
                        <a:buNone/>
                      </a:pPr>
                      <a:r>
                        <a:rPr lang="en-US" sz="1050" u="none" strike="noStrike" cap="none">
                          <a:solidFill>
                            <a:schemeClr val="dk2"/>
                          </a:solidFill>
                          <a:latin typeface="Source Sans Pro"/>
                          <a:ea typeface="Source Sans Pro"/>
                          <a:cs typeface="Source Sans Pro"/>
                          <a:sym typeface="Source Sans Pro"/>
                        </a:rPr>
                        <a:t>IRS stakeholder is outside of VA ecosystem.  Building without guidance or legal review regarding compliance with IRS regulation could result in risk.</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5" cap="flat" cmpd="sng">
                      <a:solidFill>
                        <a:srgbClr val="4B5C90">
                          <a:alpha val="0"/>
                        </a:srgbClr>
                      </a:solidFill>
                      <a:prstDash val="solid"/>
                      <a:round/>
                      <a:headEnd type="none" w="sm" len="sm"/>
                      <a:tailEnd type="none" w="sm" len="sm"/>
                    </a:lnL>
                    <a:lnR w="9525" cap="flat" cmpd="sng" algn="ctr">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800"/>
                        <a:buFont typeface="Arial"/>
                        <a:buNone/>
                      </a:pPr>
                      <a:r>
                        <a:rPr lang="en-US" sz="1050" u="none" strike="noStrike" cap="none">
                          <a:solidFill>
                            <a:schemeClr val="dk2"/>
                          </a:solidFill>
                          <a:latin typeface="Source Sans Pro"/>
                          <a:ea typeface="Source Sans Pro"/>
                          <a:cs typeface="Source Sans Pro"/>
                          <a:sym typeface="Source Sans Pro"/>
                        </a:rPr>
                        <a:t> Conduct research on available information surrounding current IRS 1095-B tax form regulations.  Seek legal review through VA resources as directed by VA-PO and Business Owner</a:t>
                      </a:r>
                    </a:p>
                  </a:txBody>
                  <a:tcPr marL="24375" marR="182875" marT="91450" marB="91450" anchor="ctr">
                    <a:lnL w="9525" cap="flat" cmpd="sng" algn="ctr">
                      <a:solidFill>
                        <a:srgbClr val="4B5C90">
                          <a:alpha val="0"/>
                        </a:srgbClr>
                      </a:solidFill>
                      <a:prstDash val="solid"/>
                      <a:round/>
                      <a:headEnd type="none" w="sm" len="sm"/>
                      <a:tailEnd type="none" w="sm" len="sm"/>
                    </a:lnL>
                    <a:lnR w="9525" cap="flat" cmpd="sng" algn="ctr">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1100" u="none" strike="noStrike" cap="none">
                          <a:solidFill>
                            <a:schemeClr val="dk2"/>
                          </a:solidFill>
                          <a:latin typeface="Source Sans Pro"/>
                          <a:ea typeface="Source Sans Pro"/>
                          <a:cs typeface="Source Sans Pro"/>
                          <a:sym typeface="Source Sans Pro"/>
                        </a:rPr>
                        <a:t>1/20/22</a:t>
                      </a:r>
                      <a:endParaRPr sz="1100" u="none" strike="noStrike" cap="none">
                        <a:solidFill>
                          <a:srgbClr val="303A46"/>
                        </a:solidFill>
                        <a:latin typeface="Source Sans Pro"/>
                        <a:ea typeface="Source Sans Pro"/>
                        <a:cs typeface="Source Sans Pro"/>
                        <a:sym typeface="Source Sans Pro"/>
                      </a:endParaRPr>
                    </a:p>
                  </a:txBody>
                  <a:tcPr marL="24375" marR="24375" marT="91450" marB="91450" anchor="ctr">
                    <a:lnL w="9525" cap="flat" cmpd="sng" algn="ctr">
                      <a:solidFill>
                        <a:srgbClr val="4B5C90">
                          <a:alpha val="0"/>
                        </a:srgbClr>
                      </a:solidFill>
                      <a:prstDash val="solid"/>
                      <a:round/>
                      <a:headEnd type="none" w="sm" len="sm"/>
                      <a:tailEnd type="none" w="sm" len="sm"/>
                    </a:lnL>
                    <a:lnR w="9525" cap="flat" cmpd="sng" algn="ctr">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1100" u="none" strike="noStrike" cap="none">
                          <a:solidFill>
                            <a:schemeClr val="dk2"/>
                          </a:solidFill>
                          <a:latin typeface="Source Sans Pro"/>
                          <a:ea typeface="Source Sans Pro"/>
                          <a:cs typeface="Source Sans Pro"/>
                          <a:sym typeface="Source Sans Pro"/>
                        </a:rPr>
                        <a:t>2/11/22</a:t>
                      </a:r>
                    </a:p>
                  </a:txBody>
                  <a:tcPr marL="24375" marR="24375" marT="91450" marB="91450" anchor="ctr">
                    <a:lnL w="9525" cap="flat" cmpd="sng" algn="ctr">
                      <a:solidFill>
                        <a:srgbClr val="4B5C90">
                          <a:alpha val="0"/>
                        </a:srgbClr>
                      </a:solidFill>
                      <a:prstDash val="solid"/>
                      <a:round/>
                      <a:headEnd type="none" w="sm" len="sm"/>
                      <a:tailEnd type="none" w="sm" len="sm"/>
                    </a:lnL>
                    <a:lnR w="19050" cap="flat" cmpd="sng" algn="ctr">
                      <a:solidFill>
                        <a:srgbClr val="FFFFFF"/>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nchor="ctr">
                    <a:lnL w="19050" cap="flat" cmpd="sng" algn="ctr">
                      <a:solidFill>
                        <a:srgbClr val="FFFFFF"/>
                      </a:solidFill>
                      <a:prstDash val="solid"/>
                      <a:round/>
                      <a:headEnd type="none" w="sm" len="sm"/>
                      <a:tailEnd type="none" w="sm" len="sm"/>
                    </a:lnL>
                    <a:lnR w="19050" cap="flat" cmpd="sng" algn="ctr">
                      <a:solidFill>
                        <a:srgbClr val="FFFFFF"/>
                      </a:solidFill>
                      <a:prstDash val="solid"/>
                      <a:round/>
                      <a:headEnd type="none" w="sm" len="sm"/>
                      <a:tailEnd type="none" w="sm" len="sm"/>
                    </a:lnR>
                    <a:lnT w="19050" cap="flat" cmpd="sng" algn="ctr">
                      <a:solidFill>
                        <a:srgbClr val="FFFFFF"/>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100"/>
                        <a:buFont typeface="Arial"/>
                        <a:buNone/>
                      </a:pPr>
                      <a:r>
                        <a:rPr lang="en-US" sz="1050" u="none" strike="noStrike" cap="none">
                          <a:solidFill>
                            <a:schemeClr val="dk2"/>
                          </a:solidFill>
                          <a:latin typeface="Source Sans Pro"/>
                          <a:ea typeface="Source Sans Pro"/>
                          <a:cs typeface="Source Sans Pro"/>
                          <a:sym typeface="Source Sans Pro"/>
                        </a:rPr>
                        <a:t>VA Business Owner clarified that IRS review is not needed</a:t>
                      </a:r>
                    </a:p>
                  </a:txBody>
                  <a:tcPr marL="91450" marR="24375" marT="91450" marB="91450" anchor="ctr">
                    <a:lnL w="19050" cap="flat" cmpd="sng" algn="ctr">
                      <a:solidFill>
                        <a:srgbClr val="FFFFFF"/>
                      </a:solidFill>
                      <a:prstDash val="solid"/>
                      <a:round/>
                      <a:headEnd type="none" w="sm" len="sm"/>
                      <a:tailEnd type="none" w="sm" len="sm"/>
                    </a:lnL>
                    <a:lnR w="9525" cap="flat" cmpd="sng">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extLst>
                  <a:ext uri="{0D108BD9-81ED-4DB2-BD59-A6C34878D82A}">
                    <a16:rowId xmlns:a16="http://schemas.microsoft.com/office/drawing/2014/main" val="10005"/>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Team had previously confirmed with Business Owner that legal review was not needed. Business Owner clarified that legal review would be needed as of March 2nd</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Business Owner is seeking a POC with the Office of General Counsel to understand what is needed and potential launch impact</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2/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ctr">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l">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Launch blocker</a:t>
                      </a: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cap="flat" cmpd="sng" algn="ctr">
                      <a:solidFill>
                        <a:schemeClr val="tx1"/>
                      </a:solidFill>
                      <a:prstDash val="solid"/>
                      <a:round/>
                      <a:headEnd type="none" w="sm" len="sm"/>
                      <a:tailEnd type="none" w="sm" len="sm"/>
                    </a:lnT>
                    <a:lnB w="3175">
                      <a:solidFill>
                        <a:schemeClr val="tx1"/>
                      </a:solidFill>
                    </a:lnB>
                  </a:tcPr>
                </a:tc>
                <a:extLst>
                  <a:ext uri="{0D108BD9-81ED-4DB2-BD59-A6C34878D82A}">
                    <a16:rowId xmlns:a16="http://schemas.microsoft.com/office/drawing/2014/main" val="2653591679"/>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ata requires storage in a S3 bucket that the enrollment system can have access to in production; process to create the staging and production bucket does not have a clear timeline. Without the S3 bucket in prod with enrollment system access, product cannot be built in prod</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aily follow-ups with Jesse House and Mike Chelan (infrastructure team)</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1/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S3 bucket now in place. Risk resolved.</a:t>
                      </a: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a:solidFill>
                        <a:schemeClr val="tx1"/>
                      </a:solidFill>
                    </a:lnT>
                    <a:lnB w="3175">
                      <a:solidFill>
                        <a:schemeClr val="tx1"/>
                      </a:solidFill>
                    </a:lnB>
                  </a:tcPr>
                </a:tc>
                <a:extLst>
                  <a:ext uri="{0D108BD9-81ED-4DB2-BD59-A6C34878D82A}">
                    <a16:rowId xmlns:a16="http://schemas.microsoft.com/office/drawing/2014/main" val="1707708484"/>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Business owner raised User Acceptance Testing should be done with HEC Call Center</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Requested Business Owner to schedule UAT with required individuals for mid-March and book as early as possible</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2/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25/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Business owner confirmed that UAT can be done through Collaboration Cycle and does not have to be done with HEC team</a:t>
                      </a: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a:solidFill>
                        <a:schemeClr val="tx1"/>
                      </a:solidFill>
                    </a:lnT>
                    <a:lnB w="3175">
                      <a:solidFill>
                        <a:schemeClr val="tx1"/>
                      </a:solidFill>
                    </a:lnB>
                  </a:tcPr>
                </a:tc>
                <a:extLst>
                  <a:ext uri="{0D108BD9-81ED-4DB2-BD59-A6C34878D82A}">
                    <a16:rowId xmlns:a16="http://schemas.microsoft.com/office/drawing/2014/main" val="1674001478"/>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Feedback from Content and IA Review has taken over a week to come in; feedback is changing our proposal for the H1 and delaying confirmation of where the 1095-B landing page should live, which in turn delays our ability to complete the front end (top nav and side nav bars)</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esign team pushing on IA team to confirm final answer of where 1095-B landing page should live and what the H1 header title should be</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03/04/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8/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URL confirmed 3/7 EOD; IA review now closed </a:t>
                      </a: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a:solidFill>
                        <a:schemeClr val="tx1"/>
                      </a:solidFill>
                    </a:lnT>
                    <a:lnB w="3175">
                      <a:solidFill>
                        <a:schemeClr val="tx1"/>
                      </a:solidFill>
                    </a:lnB>
                  </a:tcPr>
                </a:tc>
                <a:extLst>
                  <a:ext uri="{0D108BD9-81ED-4DB2-BD59-A6C34878D82A}">
                    <a16:rowId xmlns:a16="http://schemas.microsoft.com/office/drawing/2014/main" val="1158798524"/>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esigns were approved as part of Midpoint Review. Afterwards, Sitewide Content stated they would need to build our front end in Drupal and change our designs, impacting our in-flight build. </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med" len="med"/>
                      <a:tailEnd type="none" w="med" len="med"/>
                    </a:lnT>
                    <a:lnB w="3174">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esign team met with Sitewide Content to align on redesigned front end. Tech working with Sitewide Content to send over our dynamic widget to be pulled into their static front end. Sitewide Content now owns the front end build.</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med" len="med"/>
                      <a:tailEnd type="none" w="med" len="med"/>
                    </a:lnT>
                    <a:lnB w="3174">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10/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med" len="med"/>
                      <a:tailEnd type="none" w="med" len="med"/>
                    </a:lnT>
                    <a:lnB w="3174">
                      <a:solidFill>
                        <a:schemeClr val="tx1"/>
                      </a:solidFill>
                    </a:lnB>
                  </a:tcPr>
                </a:tc>
                <a:tc>
                  <a:txBody>
                    <a:bodyPr/>
                    <a:lstStyle/>
                    <a:p>
                      <a:pPr marL="0" lvl="0" indent="0" algn="ctr">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cap="flat" cmpd="sng" algn="ctr">
                      <a:solidFill>
                        <a:schemeClr val="tx1"/>
                      </a:solidFill>
                      <a:prstDash val="solid"/>
                      <a:round/>
                      <a:headEnd type="none" w="med" len="med"/>
                      <a:tailEnd type="none" w="med" len="med"/>
                    </a:lnT>
                    <a:lnB w="3174">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cap="flat" cmpd="sng" algn="ctr">
                      <a:solidFill>
                        <a:schemeClr val="tx1"/>
                      </a:solidFill>
                      <a:prstDash val="solid"/>
                      <a:round/>
                      <a:headEnd type="none" w="med" len="med"/>
                      <a:tailEnd type="none" w="med" len="med"/>
                    </a:lnT>
                    <a:lnB w="3174">
                      <a:solidFill>
                        <a:schemeClr val="tx1"/>
                      </a:solidFill>
                    </a:lnB>
                  </a:tcPr>
                </a:tc>
                <a:tc>
                  <a:txBody>
                    <a:bodyPr/>
                    <a:lstStyle/>
                    <a:p>
                      <a:pPr marL="0" lvl="0" indent="0" algn="l">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Launch date dependent on Sitewide Content ability to launch front end</a:t>
                      </a: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cap="flat" cmpd="sng" algn="ctr">
                      <a:solidFill>
                        <a:schemeClr val="tx1"/>
                      </a:solidFill>
                      <a:prstDash val="solid"/>
                      <a:round/>
                      <a:headEnd type="none" w="med" len="med"/>
                      <a:tailEnd type="none" w="med" len="med"/>
                    </a:lnT>
                    <a:lnB w="3174">
                      <a:solidFill>
                        <a:schemeClr val="tx1"/>
                      </a:solidFill>
                    </a:lnB>
                  </a:tcPr>
                </a:tc>
                <a:extLst>
                  <a:ext uri="{0D108BD9-81ED-4DB2-BD59-A6C34878D82A}">
                    <a16:rowId xmlns:a16="http://schemas.microsoft.com/office/drawing/2014/main" val="152309680"/>
                  </a:ext>
                </a:extLst>
              </a:tr>
              <a:tr h="395975">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4">
                      <a:solidFill>
                        <a:schemeClr val="tx1"/>
                      </a:solidFill>
                    </a:lnT>
                    <a:lnB w="12700">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4">
                      <a:solidFill>
                        <a:schemeClr val="tx1"/>
                      </a:solidFill>
                    </a:lnT>
                    <a:lnB w="12700">
                      <a:solidFill>
                        <a:schemeClr val="tx1"/>
                      </a:solidFill>
                    </a:lnB>
                  </a:tcPr>
                </a:tc>
                <a:tc>
                  <a:txBody>
                    <a:bodyPr/>
                    <a:lstStyle/>
                    <a:p>
                      <a:pPr marL="0" lvl="0" indent="0" algn="ctr">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4">
                      <a:solidFill>
                        <a:schemeClr val="tx1"/>
                      </a:solidFill>
                    </a:lnT>
                    <a:lnB w="12700">
                      <a:solidFill>
                        <a:schemeClr val="tx1"/>
                      </a:solidFill>
                    </a:lnB>
                  </a:tcPr>
                </a:tc>
                <a:tc>
                  <a:txBody>
                    <a:bodyPr/>
                    <a:lstStyle/>
                    <a:p>
                      <a:pPr marL="0" lvl="0" indent="0" algn="ctr">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4">
                      <a:solidFill>
                        <a:schemeClr val="tx1"/>
                      </a:solidFill>
                    </a:lnT>
                    <a:lnB w="12700">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4">
                      <a:solidFill>
                        <a:schemeClr val="tx1"/>
                      </a:solidFill>
                    </a:lnT>
                    <a:lnB w="12700">
                      <a:solidFill>
                        <a:schemeClr val="tx1"/>
                      </a:solidFill>
                    </a:lnB>
                  </a:tcPr>
                </a:tc>
                <a:tc>
                  <a:txBody>
                    <a:bodyPr/>
                    <a:lstStyle/>
                    <a:p>
                      <a:pPr marL="0" lvl="0" indent="0" algn="l">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4">
                      <a:solidFill>
                        <a:schemeClr val="tx1"/>
                      </a:solidFill>
                    </a:lnT>
                    <a:lnB w="12700">
                      <a:solidFill>
                        <a:schemeClr val="tx1"/>
                      </a:solidFill>
                    </a:lnB>
                  </a:tcPr>
                </a:tc>
                <a:extLst>
                  <a:ext uri="{0D108BD9-81ED-4DB2-BD59-A6C34878D82A}">
                    <a16:rowId xmlns:a16="http://schemas.microsoft.com/office/drawing/2014/main" val="912855546"/>
                  </a:ext>
                </a:extLst>
              </a:tr>
            </a:tbl>
          </a:graphicData>
        </a:graphic>
      </p:graphicFrame>
      <p:sp>
        <p:nvSpPr>
          <p:cNvPr id="931" name="Google Shape;931;p28"/>
          <p:cNvSpPr txBox="1"/>
          <p:nvPr/>
        </p:nvSpPr>
        <p:spPr>
          <a:xfrm>
            <a:off x="341923" y="1021795"/>
            <a:ext cx="6233031" cy="307777"/>
          </a:xfrm>
          <a:prstGeom prst="rect">
            <a:avLst/>
          </a:prstGeom>
          <a:noFill/>
          <a:ln>
            <a:noFill/>
          </a:ln>
        </p:spPr>
        <p:txBody>
          <a:bodyPr spcFirstLastPara="1" wrap="square" lIns="91425" tIns="45700" rIns="91425" bIns="45700" anchor="t" anchorCtr="0">
            <a:spAutoFit/>
          </a:bodyPr>
          <a:lstStyle/>
          <a:p>
            <a:pPr>
              <a:buClr>
                <a:srgbClr val="575757"/>
              </a:buClr>
              <a:buSzPts val="1400"/>
            </a:pPr>
            <a:r>
              <a:rPr lang="en-US" sz="1400" u="none" strike="noStrike" cap="none">
                <a:solidFill>
                  <a:srgbClr val="575757"/>
                </a:solidFill>
                <a:latin typeface="PT Serif"/>
                <a:ea typeface="PT Serif"/>
                <a:cs typeface="PT Serif"/>
                <a:sym typeface="PT Serif"/>
              </a:rPr>
              <a:t>Submitted as part of the Monthly Report </a:t>
            </a:r>
            <a:r>
              <a:rPr lang="en-US">
                <a:solidFill>
                  <a:srgbClr val="575757"/>
                </a:solidFill>
                <a:latin typeface="PT Serif"/>
                <a:ea typeface="PT Serif"/>
                <a:cs typeface="PT Serif"/>
                <a:sym typeface="PT Serif"/>
              </a:rPr>
              <a:t>for March</a:t>
            </a:r>
            <a:endParaRPr lang="en-US" sz="1800">
              <a:solidFill>
                <a:srgbClr val="575757"/>
              </a:solidFill>
              <a:latin typeface="PT Serif"/>
              <a:ea typeface="PT Serif"/>
              <a:cs typeface="PT Serif"/>
              <a:sym typeface="PT Serif"/>
            </a:endParaRPr>
          </a:p>
        </p:txBody>
      </p:sp>
      <p:grpSp>
        <p:nvGrpSpPr>
          <p:cNvPr id="932" name="Google Shape;932;p28"/>
          <p:cNvGrpSpPr/>
          <p:nvPr/>
        </p:nvGrpSpPr>
        <p:grpSpPr>
          <a:xfrm>
            <a:off x="419100" y="1427054"/>
            <a:ext cx="11353099" cy="230697"/>
            <a:chOff x="419100" y="1737020"/>
            <a:chExt cx="11353099" cy="230697"/>
          </a:xfrm>
        </p:grpSpPr>
        <p:cxnSp>
          <p:nvCxnSpPr>
            <p:cNvPr id="933" name="Google Shape;933;p28"/>
            <p:cNvCxnSpPr/>
            <p:nvPr/>
          </p:nvCxnSpPr>
          <p:spPr>
            <a:xfrm>
              <a:off x="419100" y="1946745"/>
              <a:ext cx="11353099" cy="20972"/>
            </a:xfrm>
            <a:prstGeom prst="straightConnector1">
              <a:avLst/>
            </a:prstGeom>
            <a:noFill/>
            <a:ln w="9525" cap="flat" cmpd="sng">
              <a:solidFill>
                <a:srgbClr val="002B4F"/>
              </a:solidFill>
              <a:prstDash val="solid"/>
              <a:round/>
              <a:headEnd type="none" w="sm" len="sm"/>
              <a:tailEnd type="none" w="sm" len="sm"/>
            </a:ln>
          </p:spPr>
        </p:cxnSp>
        <p:cxnSp>
          <p:nvCxnSpPr>
            <p:cNvPr id="934" name="Google Shape;934;p28"/>
            <p:cNvCxnSpPr/>
            <p:nvPr/>
          </p:nvCxnSpPr>
          <p:spPr>
            <a:xfrm>
              <a:off x="7651341" y="1737020"/>
              <a:ext cx="1147219" cy="0"/>
            </a:xfrm>
            <a:prstGeom prst="straightConnector1">
              <a:avLst/>
            </a:prstGeom>
            <a:noFill/>
            <a:ln w="12700" cap="flat" cmpd="sng">
              <a:solidFill>
                <a:schemeClr val="tx1"/>
              </a:solidFill>
              <a:prstDash val="solid"/>
              <a:round/>
              <a:headEnd type="none" w="sm" len="sm"/>
              <a:tailEnd type="none" w="sm" len="sm"/>
            </a:ln>
          </p:spPr>
        </p:cxnSp>
      </p:grpSp>
      <p:sp>
        <p:nvSpPr>
          <p:cNvPr id="936" name="Google Shape;936;p28"/>
          <p:cNvSpPr/>
          <p:nvPr/>
        </p:nvSpPr>
        <p:spPr>
          <a:xfrm>
            <a:off x="10218734" y="504720"/>
            <a:ext cx="1587536" cy="942740"/>
          </a:xfrm>
          <a:prstGeom prst="rect">
            <a:avLst/>
          </a:prstGeom>
          <a:no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Calibri"/>
              <a:buNone/>
            </a:pPr>
            <a:endParaRPr sz="1000" b="0" i="0" u="none" strike="noStrike" cap="none">
              <a:solidFill>
                <a:srgbClr val="000000"/>
              </a:solidFill>
              <a:latin typeface="PT Serif"/>
              <a:ea typeface="PT Serif"/>
              <a:cs typeface="PT Serif"/>
              <a:sym typeface="PT Serif"/>
            </a:endParaRPr>
          </a:p>
        </p:txBody>
      </p:sp>
      <p:sp>
        <p:nvSpPr>
          <p:cNvPr id="13" name="Oval 12">
            <a:extLst>
              <a:ext uri="{FF2B5EF4-FFF2-40B4-BE49-F238E27FC236}">
                <a16:creationId xmlns:a16="http://schemas.microsoft.com/office/drawing/2014/main" id="{CBBF7C82-D0BF-483D-8655-9680C99D1D18}"/>
              </a:ext>
            </a:extLst>
          </p:cNvPr>
          <p:cNvSpPr/>
          <p:nvPr/>
        </p:nvSpPr>
        <p:spPr>
          <a:xfrm>
            <a:off x="9081577" y="2536071"/>
            <a:ext cx="176721" cy="18341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Oval 15">
            <a:extLst>
              <a:ext uri="{FF2B5EF4-FFF2-40B4-BE49-F238E27FC236}">
                <a16:creationId xmlns:a16="http://schemas.microsoft.com/office/drawing/2014/main" id="{7C86888D-8676-4954-B3CA-7563A7A86788}"/>
              </a:ext>
            </a:extLst>
          </p:cNvPr>
          <p:cNvSpPr/>
          <p:nvPr/>
        </p:nvSpPr>
        <p:spPr>
          <a:xfrm>
            <a:off x="9081575" y="5108447"/>
            <a:ext cx="176721" cy="18341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Oval 17">
            <a:extLst>
              <a:ext uri="{FF2B5EF4-FFF2-40B4-BE49-F238E27FC236}">
                <a16:creationId xmlns:a16="http://schemas.microsoft.com/office/drawing/2014/main" id="{46373D0D-F98D-4606-BC07-084849BDE347}"/>
              </a:ext>
            </a:extLst>
          </p:cNvPr>
          <p:cNvSpPr/>
          <p:nvPr/>
        </p:nvSpPr>
        <p:spPr>
          <a:xfrm>
            <a:off x="9081574" y="1866717"/>
            <a:ext cx="176721" cy="18341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Oval 18">
            <a:extLst>
              <a:ext uri="{FF2B5EF4-FFF2-40B4-BE49-F238E27FC236}">
                <a16:creationId xmlns:a16="http://schemas.microsoft.com/office/drawing/2014/main" id="{4D271066-DA07-4647-B209-7C3919DF3ECC}"/>
              </a:ext>
            </a:extLst>
          </p:cNvPr>
          <p:cNvSpPr/>
          <p:nvPr/>
        </p:nvSpPr>
        <p:spPr>
          <a:xfrm>
            <a:off x="9081573" y="3429462"/>
            <a:ext cx="176721" cy="18341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Oval 20">
            <a:extLst>
              <a:ext uri="{FF2B5EF4-FFF2-40B4-BE49-F238E27FC236}">
                <a16:creationId xmlns:a16="http://schemas.microsoft.com/office/drawing/2014/main" id="{7C092FA4-92F1-452C-973C-C91F4DCFAD78}"/>
              </a:ext>
            </a:extLst>
          </p:cNvPr>
          <p:cNvSpPr/>
          <p:nvPr/>
        </p:nvSpPr>
        <p:spPr>
          <a:xfrm>
            <a:off x="9081576" y="5932782"/>
            <a:ext cx="176721" cy="18341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Box 19">
            <a:extLst>
              <a:ext uri="{FF2B5EF4-FFF2-40B4-BE49-F238E27FC236}">
                <a16:creationId xmlns:a16="http://schemas.microsoft.com/office/drawing/2014/main" id="{4B2456FF-B645-463D-855D-7AC4CB451808}"/>
              </a:ext>
            </a:extLst>
          </p:cNvPr>
          <p:cNvSpPr txBox="1"/>
          <p:nvPr/>
        </p:nvSpPr>
        <p:spPr>
          <a:xfrm>
            <a:off x="7747353" y="741799"/>
            <a:ext cx="3522588" cy="307777"/>
          </a:xfrm>
          <a:prstGeom prst="rect">
            <a:avLst/>
          </a:prstGeom>
          <a:solidFill>
            <a:srgbClr val="FFFF00"/>
          </a:solidFill>
        </p:spPr>
        <p:txBody>
          <a:bodyPr wrap="square" lIns="91440" tIns="45720" rIns="91440" bIns="45720" rtlCol="0" anchor="t">
            <a:spAutoFit/>
          </a:bodyPr>
          <a:lstStyle/>
          <a:p>
            <a:r>
              <a:rPr lang="en-US"/>
              <a:t>Munish to update</a:t>
            </a:r>
          </a:p>
        </p:txBody>
      </p:sp>
      <p:sp>
        <p:nvSpPr>
          <p:cNvPr id="22" name="Oval 21">
            <a:extLst>
              <a:ext uri="{FF2B5EF4-FFF2-40B4-BE49-F238E27FC236}">
                <a16:creationId xmlns:a16="http://schemas.microsoft.com/office/drawing/2014/main" id="{1D044FAD-B4AA-1AFD-293A-8E712C11FEC4}"/>
              </a:ext>
            </a:extLst>
          </p:cNvPr>
          <p:cNvSpPr/>
          <p:nvPr/>
        </p:nvSpPr>
        <p:spPr>
          <a:xfrm>
            <a:off x="9081573" y="4235850"/>
            <a:ext cx="176721" cy="18341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61"/>
        <p:cNvGrpSpPr/>
        <p:nvPr/>
      </p:nvGrpSpPr>
      <p:grpSpPr>
        <a:xfrm>
          <a:off x="0" y="0"/>
          <a:ext cx="0" cy="0"/>
          <a:chOff x="0" y="0"/>
          <a:chExt cx="0" cy="0"/>
        </a:xfrm>
      </p:grpSpPr>
      <p:sp>
        <p:nvSpPr>
          <p:cNvPr id="262" name="Google Shape;262;p4"/>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Roadmap overview</a:t>
            </a:r>
            <a:endParaRPr/>
          </a:p>
        </p:txBody>
      </p:sp>
      <p:sp>
        <p:nvSpPr>
          <p:cNvPr id="263" name="Google Shape;263;p4"/>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4</a:t>
            </a:fld>
            <a:endParaRPr>
              <a:latin typeface="Source Sans Pro"/>
              <a:ea typeface="Source Sans Pro"/>
              <a:cs typeface="Source Sans Pro"/>
              <a:sym typeface="Source Sans Pro"/>
            </a:endParaRPr>
          </a:p>
        </p:txBody>
      </p:sp>
      <p:sp>
        <p:nvSpPr>
          <p:cNvPr id="264" name="Google Shape;264;p4"/>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Source Sans Pro"/>
                <a:sym typeface="Source Sans Pro"/>
              </a:rPr>
              <a:t>Introduction</a:t>
            </a:r>
            <a:endParaRPr sz="1800" b="0" i="0" u="none" strike="noStrike" cap="none">
              <a:solidFill>
                <a:schemeClr val="dk1"/>
              </a:solidFill>
              <a:latin typeface="Calibri"/>
              <a:ea typeface="Calibri"/>
              <a:cs typeface="Calibri"/>
              <a:sym typeface="Calibri"/>
            </a:endParaRPr>
          </a:p>
        </p:txBody>
      </p:sp>
      <p:sp>
        <p:nvSpPr>
          <p:cNvPr id="265" name="Google Shape;265;p4"/>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05 Sprint 5 Demo</a:t>
            </a:r>
            <a:endParaRPr sz="1800" b="0" i="0" u="none" strike="noStrike" cap="none">
              <a:solidFill>
                <a:srgbClr val="747C74"/>
              </a:solidFill>
              <a:latin typeface="Calibri"/>
              <a:ea typeface="Calibri"/>
              <a:cs typeface="Calibri"/>
              <a:sym typeface="Calibri"/>
            </a:endParaRPr>
          </a:p>
        </p:txBody>
      </p:sp>
      <p:cxnSp>
        <p:nvCxnSpPr>
          <p:cNvPr id="266" name="Google Shape;266;p4"/>
          <p:cNvCxnSpPr/>
          <p:nvPr/>
        </p:nvCxnSpPr>
        <p:spPr>
          <a:xfrm>
            <a:off x="1360982" y="2495550"/>
            <a:ext cx="3581400" cy="7257"/>
          </a:xfrm>
          <a:prstGeom prst="straightConnector1">
            <a:avLst/>
          </a:prstGeom>
          <a:noFill/>
          <a:ln w="9525" cap="flat" cmpd="sng">
            <a:solidFill>
              <a:srgbClr val="232B34"/>
            </a:solidFill>
            <a:prstDash val="solid"/>
            <a:round/>
            <a:headEnd type="none" w="sm" len="sm"/>
            <a:tailEnd type="none" w="sm" len="sm"/>
          </a:ln>
        </p:spPr>
      </p:cxnSp>
      <p:cxnSp>
        <p:nvCxnSpPr>
          <p:cNvPr id="267" name="Google Shape;267;p4"/>
          <p:cNvCxnSpPr/>
          <p:nvPr/>
        </p:nvCxnSpPr>
        <p:spPr>
          <a:xfrm>
            <a:off x="4991368" y="2495550"/>
            <a:ext cx="6775450" cy="6350"/>
          </a:xfrm>
          <a:prstGeom prst="straightConnector1">
            <a:avLst/>
          </a:prstGeom>
          <a:noFill/>
          <a:ln w="9525" cap="flat" cmpd="sng">
            <a:solidFill>
              <a:srgbClr val="232B34"/>
            </a:solidFill>
            <a:prstDash val="solid"/>
            <a:round/>
            <a:headEnd type="none" w="sm" len="sm"/>
            <a:tailEnd type="none" w="sm" len="sm"/>
          </a:ln>
        </p:spPr>
      </p:cxnSp>
      <p:sp>
        <p:nvSpPr>
          <p:cNvPr id="268" name="Google Shape;268;p4"/>
          <p:cNvSpPr txBox="1"/>
          <p:nvPr/>
        </p:nvSpPr>
        <p:spPr>
          <a:xfrm>
            <a:off x="1364903"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0</a:t>
            </a:r>
            <a:endParaRPr sz="1200" b="0" i="0" u="none" strike="noStrike" cap="none">
              <a:solidFill>
                <a:schemeClr val="dk2"/>
              </a:solidFill>
              <a:latin typeface="Source Sans Pro"/>
              <a:ea typeface="Source Sans Pro"/>
              <a:cs typeface="Source Sans Pro"/>
              <a:sym typeface="Source Sans Pro"/>
            </a:endParaRPr>
          </a:p>
        </p:txBody>
      </p:sp>
      <p:sp>
        <p:nvSpPr>
          <p:cNvPr id="269" name="Google Shape;269;p4"/>
          <p:cNvSpPr txBox="1"/>
          <p:nvPr/>
        </p:nvSpPr>
        <p:spPr>
          <a:xfrm>
            <a:off x="1767320"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a:t>
            </a:r>
            <a:endParaRPr sz="1200" b="0" i="0" u="none" strike="noStrike" cap="none">
              <a:solidFill>
                <a:schemeClr val="dk2"/>
              </a:solidFill>
              <a:latin typeface="Source Sans Pro"/>
              <a:ea typeface="Source Sans Pro"/>
              <a:cs typeface="Source Sans Pro"/>
              <a:sym typeface="Source Sans Pro"/>
            </a:endParaRPr>
          </a:p>
        </p:txBody>
      </p:sp>
      <p:sp>
        <p:nvSpPr>
          <p:cNvPr id="270" name="Google Shape;270;p4"/>
          <p:cNvSpPr txBox="1"/>
          <p:nvPr/>
        </p:nvSpPr>
        <p:spPr>
          <a:xfrm>
            <a:off x="2169737"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a:t>
            </a:r>
            <a:endParaRPr sz="1200" b="0" i="0" u="none" strike="noStrike" cap="none">
              <a:solidFill>
                <a:schemeClr val="dk2"/>
              </a:solidFill>
              <a:latin typeface="Source Sans Pro"/>
              <a:ea typeface="Source Sans Pro"/>
              <a:cs typeface="Source Sans Pro"/>
              <a:sym typeface="Source Sans Pro"/>
            </a:endParaRPr>
          </a:p>
        </p:txBody>
      </p:sp>
      <p:sp>
        <p:nvSpPr>
          <p:cNvPr id="271" name="Google Shape;271;p4"/>
          <p:cNvSpPr txBox="1"/>
          <p:nvPr/>
        </p:nvSpPr>
        <p:spPr>
          <a:xfrm>
            <a:off x="2572154"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3</a:t>
            </a:r>
            <a:endParaRPr sz="1200" b="0" i="0" u="none" strike="noStrike" cap="none">
              <a:solidFill>
                <a:schemeClr val="dk2"/>
              </a:solidFill>
              <a:latin typeface="Source Sans Pro"/>
              <a:ea typeface="Source Sans Pro"/>
              <a:cs typeface="Source Sans Pro"/>
              <a:sym typeface="Source Sans Pro"/>
            </a:endParaRPr>
          </a:p>
        </p:txBody>
      </p:sp>
      <p:sp>
        <p:nvSpPr>
          <p:cNvPr id="272" name="Google Shape;272;p4"/>
          <p:cNvSpPr txBox="1"/>
          <p:nvPr/>
        </p:nvSpPr>
        <p:spPr>
          <a:xfrm>
            <a:off x="2974571"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4</a:t>
            </a:r>
            <a:endParaRPr sz="1200" b="0" i="0" u="none" strike="noStrike" cap="none">
              <a:solidFill>
                <a:schemeClr val="dk2"/>
              </a:solidFill>
              <a:latin typeface="Source Sans Pro"/>
              <a:ea typeface="Source Sans Pro"/>
              <a:cs typeface="Source Sans Pro"/>
              <a:sym typeface="Source Sans Pro"/>
            </a:endParaRPr>
          </a:p>
        </p:txBody>
      </p:sp>
      <p:sp>
        <p:nvSpPr>
          <p:cNvPr id="273" name="Google Shape;273;p4"/>
          <p:cNvSpPr txBox="1"/>
          <p:nvPr/>
        </p:nvSpPr>
        <p:spPr>
          <a:xfrm>
            <a:off x="3376988"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5</a:t>
            </a:r>
            <a:endParaRPr sz="1200" b="0" i="0" u="none" strike="noStrike" cap="none">
              <a:solidFill>
                <a:schemeClr val="dk2"/>
              </a:solidFill>
              <a:latin typeface="Source Sans Pro"/>
              <a:ea typeface="Source Sans Pro"/>
              <a:cs typeface="Source Sans Pro"/>
              <a:sym typeface="Source Sans Pro"/>
            </a:endParaRPr>
          </a:p>
        </p:txBody>
      </p:sp>
      <p:sp>
        <p:nvSpPr>
          <p:cNvPr id="274" name="Google Shape;274;p4"/>
          <p:cNvSpPr txBox="1"/>
          <p:nvPr/>
        </p:nvSpPr>
        <p:spPr>
          <a:xfrm>
            <a:off x="3779405"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6</a:t>
            </a:r>
            <a:endParaRPr sz="1200" b="0" i="0" u="none" strike="noStrike" cap="none">
              <a:solidFill>
                <a:schemeClr val="dk2"/>
              </a:solidFill>
              <a:latin typeface="Source Sans Pro"/>
              <a:ea typeface="Source Sans Pro"/>
              <a:cs typeface="Source Sans Pro"/>
              <a:sym typeface="Source Sans Pro"/>
            </a:endParaRPr>
          </a:p>
        </p:txBody>
      </p:sp>
      <p:sp>
        <p:nvSpPr>
          <p:cNvPr id="275" name="Google Shape;275;p4"/>
          <p:cNvSpPr txBox="1"/>
          <p:nvPr/>
        </p:nvSpPr>
        <p:spPr>
          <a:xfrm>
            <a:off x="4181822"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7</a:t>
            </a:r>
            <a:endParaRPr sz="1200" b="0" i="0" u="none" strike="noStrike" cap="none">
              <a:solidFill>
                <a:schemeClr val="dk2"/>
              </a:solidFill>
              <a:latin typeface="Source Sans Pro"/>
              <a:ea typeface="Source Sans Pro"/>
              <a:cs typeface="Source Sans Pro"/>
              <a:sym typeface="Source Sans Pro"/>
            </a:endParaRPr>
          </a:p>
        </p:txBody>
      </p:sp>
      <p:sp>
        <p:nvSpPr>
          <p:cNvPr id="276" name="Google Shape;276;p4"/>
          <p:cNvSpPr txBox="1"/>
          <p:nvPr/>
        </p:nvSpPr>
        <p:spPr>
          <a:xfrm>
            <a:off x="1362550" y="3318148"/>
            <a:ext cx="709686"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Sep</a:t>
            </a:r>
            <a:endParaRPr sz="1200" b="0" i="0" u="none" strike="noStrike" cap="none">
              <a:solidFill>
                <a:schemeClr val="lt1"/>
              </a:solidFill>
              <a:latin typeface="Source Sans Pro"/>
              <a:ea typeface="Source Sans Pro"/>
              <a:cs typeface="Source Sans Pro"/>
              <a:sym typeface="Source Sans Pro"/>
            </a:endParaRPr>
          </a:p>
        </p:txBody>
      </p:sp>
      <p:sp>
        <p:nvSpPr>
          <p:cNvPr id="277" name="Google Shape;277;p4"/>
          <p:cNvSpPr txBox="1"/>
          <p:nvPr/>
        </p:nvSpPr>
        <p:spPr>
          <a:xfrm>
            <a:off x="2099771" y="3311798"/>
            <a:ext cx="950564"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Oct</a:t>
            </a:r>
            <a:endParaRPr sz="1200" b="0" i="0" u="none" strike="noStrike" cap="none">
              <a:solidFill>
                <a:schemeClr val="lt1"/>
              </a:solidFill>
              <a:latin typeface="Source Sans Pro"/>
              <a:ea typeface="Source Sans Pro"/>
              <a:cs typeface="Source Sans Pro"/>
              <a:sym typeface="Source Sans Pro"/>
            </a:endParaRPr>
          </a:p>
        </p:txBody>
      </p:sp>
      <p:sp>
        <p:nvSpPr>
          <p:cNvPr id="278" name="Google Shape;278;p4"/>
          <p:cNvSpPr txBox="1"/>
          <p:nvPr/>
        </p:nvSpPr>
        <p:spPr>
          <a:xfrm>
            <a:off x="3077871" y="3311798"/>
            <a:ext cx="674234"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Nov</a:t>
            </a:r>
            <a:endParaRPr sz="1200" b="0" i="0" u="none" strike="noStrike" cap="none">
              <a:solidFill>
                <a:schemeClr val="lt1"/>
              </a:solidFill>
              <a:latin typeface="Source Sans Pro"/>
              <a:ea typeface="Source Sans Pro"/>
              <a:cs typeface="Source Sans Pro"/>
              <a:sym typeface="Source Sans Pro"/>
            </a:endParaRPr>
          </a:p>
        </p:txBody>
      </p:sp>
      <p:sp>
        <p:nvSpPr>
          <p:cNvPr id="279" name="Google Shape;279;p4"/>
          <p:cNvSpPr txBox="1"/>
          <p:nvPr/>
        </p:nvSpPr>
        <p:spPr>
          <a:xfrm>
            <a:off x="3779640" y="3311798"/>
            <a:ext cx="872471"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Dec</a:t>
            </a:r>
            <a:endParaRPr sz="1200" b="0" i="0" u="none" strike="noStrike" cap="none">
              <a:solidFill>
                <a:schemeClr val="lt1"/>
              </a:solidFill>
              <a:latin typeface="Source Sans Pro"/>
              <a:ea typeface="Source Sans Pro"/>
              <a:cs typeface="Source Sans Pro"/>
              <a:sym typeface="Source Sans Pro"/>
            </a:endParaRPr>
          </a:p>
        </p:txBody>
      </p:sp>
      <p:sp>
        <p:nvSpPr>
          <p:cNvPr id="280" name="Google Shape;280;p4"/>
          <p:cNvSpPr txBox="1"/>
          <p:nvPr/>
        </p:nvSpPr>
        <p:spPr>
          <a:xfrm>
            <a:off x="4584239"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8</a:t>
            </a:r>
            <a:endParaRPr sz="1200" b="0" i="0" u="none" strike="noStrike" cap="none">
              <a:solidFill>
                <a:schemeClr val="dk2"/>
              </a:solidFill>
              <a:latin typeface="Source Sans Pro"/>
              <a:ea typeface="Source Sans Pro"/>
              <a:cs typeface="Source Sans Pro"/>
              <a:sym typeface="Source Sans Pro"/>
            </a:endParaRPr>
          </a:p>
        </p:txBody>
      </p:sp>
      <p:sp>
        <p:nvSpPr>
          <p:cNvPr id="281" name="Google Shape;281;p4"/>
          <p:cNvSpPr txBox="1"/>
          <p:nvPr/>
        </p:nvSpPr>
        <p:spPr>
          <a:xfrm>
            <a:off x="4986656"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9</a:t>
            </a:r>
            <a:endParaRPr sz="1200" b="0" i="0" u="none" strike="noStrike" cap="none">
              <a:solidFill>
                <a:schemeClr val="dk2"/>
              </a:solidFill>
              <a:latin typeface="Source Sans Pro"/>
              <a:ea typeface="Source Sans Pro"/>
              <a:cs typeface="Source Sans Pro"/>
              <a:sym typeface="Source Sans Pro"/>
            </a:endParaRPr>
          </a:p>
        </p:txBody>
      </p:sp>
      <p:sp>
        <p:nvSpPr>
          <p:cNvPr id="282" name="Google Shape;282;p4"/>
          <p:cNvSpPr txBox="1"/>
          <p:nvPr/>
        </p:nvSpPr>
        <p:spPr>
          <a:xfrm>
            <a:off x="5389073"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0</a:t>
            </a:r>
            <a:endParaRPr sz="1200" b="0" i="0" u="none" strike="noStrike" cap="none">
              <a:solidFill>
                <a:schemeClr val="dk2"/>
              </a:solidFill>
              <a:latin typeface="Source Sans Pro"/>
              <a:ea typeface="Source Sans Pro"/>
              <a:cs typeface="Source Sans Pro"/>
              <a:sym typeface="Source Sans Pro"/>
            </a:endParaRPr>
          </a:p>
        </p:txBody>
      </p:sp>
      <p:sp>
        <p:nvSpPr>
          <p:cNvPr id="283" name="Google Shape;283;p4"/>
          <p:cNvSpPr txBox="1"/>
          <p:nvPr/>
        </p:nvSpPr>
        <p:spPr>
          <a:xfrm>
            <a:off x="5791490"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1</a:t>
            </a:r>
            <a:endParaRPr sz="1200" b="0" i="0" u="none" strike="noStrike" cap="none">
              <a:solidFill>
                <a:schemeClr val="dk2"/>
              </a:solidFill>
              <a:latin typeface="Source Sans Pro"/>
              <a:ea typeface="Source Sans Pro"/>
              <a:cs typeface="Source Sans Pro"/>
              <a:sym typeface="Source Sans Pro"/>
            </a:endParaRPr>
          </a:p>
        </p:txBody>
      </p:sp>
      <p:sp>
        <p:nvSpPr>
          <p:cNvPr id="284" name="Google Shape;284;p4"/>
          <p:cNvSpPr txBox="1"/>
          <p:nvPr/>
        </p:nvSpPr>
        <p:spPr>
          <a:xfrm>
            <a:off x="4679648" y="3318148"/>
            <a:ext cx="1014301"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Jan</a:t>
            </a:r>
            <a:endParaRPr sz="1200" b="0" i="0" u="none" strike="noStrike" cap="none">
              <a:solidFill>
                <a:schemeClr val="lt1"/>
              </a:solidFill>
              <a:latin typeface="Source Sans Pro"/>
              <a:ea typeface="Source Sans Pro"/>
              <a:cs typeface="Source Sans Pro"/>
              <a:sym typeface="Source Sans Pro"/>
            </a:endParaRPr>
          </a:p>
        </p:txBody>
      </p:sp>
      <p:sp>
        <p:nvSpPr>
          <p:cNvPr id="285" name="Google Shape;285;p4"/>
          <p:cNvSpPr txBox="1"/>
          <p:nvPr/>
        </p:nvSpPr>
        <p:spPr>
          <a:xfrm>
            <a:off x="5727836" y="3311798"/>
            <a:ext cx="689588" cy="240192"/>
          </a:xfrm>
          <a:prstGeom prst="rect">
            <a:avLst/>
          </a:prstGeom>
          <a:solidFill>
            <a:srgbClr val="0365B9"/>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rgbClr val="FDFFFD"/>
                </a:solidFill>
                <a:latin typeface="Source Sans Pro"/>
                <a:ea typeface="Source Sans Pro"/>
                <a:cs typeface="Source Sans Pro"/>
                <a:sym typeface="Source Sans Pro"/>
              </a:rPr>
              <a:t>Feb</a:t>
            </a:r>
            <a:endParaRPr sz="1200" b="0" i="0" u="none" strike="noStrike" cap="none">
              <a:solidFill>
                <a:srgbClr val="FDFFFD"/>
              </a:solidFill>
              <a:latin typeface="Source Sans Pro"/>
              <a:ea typeface="Source Sans Pro"/>
              <a:cs typeface="Source Sans Pro"/>
              <a:sym typeface="Source Sans Pro"/>
            </a:endParaRPr>
          </a:p>
        </p:txBody>
      </p:sp>
      <p:sp>
        <p:nvSpPr>
          <p:cNvPr id="286" name="Google Shape;286;p4"/>
          <p:cNvSpPr txBox="1"/>
          <p:nvPr/>
        </p:nvSpPr>
        <p:spPr>
          <a:xfrm>
            <a:off x="1364903" y="3874067"/>
            <a:ext cx="3801217" cy="458547"/>
          </a:xfrm>
          <a:prstGeom prst="rect">
            <a:avLst/>
          </a:prstGeom>
          <a:solidFill>
            <a:srgbClr val="7185A0"/>
          </a:solidFill>
          <a:ln>
            <a:noFill/>
          </a:ln>
        </p:spPr>
        <p:txBody>
          <a:bodyPr spcFirstLastPara="1" wrap="square" lIns="121900" tIns="121900" rIns="121900" bIns="121900" anchor="t" anchorCtr="0">
            <a:spAutoFit/>
          </a:bodyPr>
          <a:lstStyle/>
          <a:p>
            <a:pPr marL="0" marR="0" lvl="0" indent="0" algn="l" rtl="0">
              <a:lnSpc>
                <a:spcPct val="115000"/>
              </a:lnSpc>
              <a:spcBef>
                <a:spcPts val="0"/>
              </a:spcBef>
              <a:spcAft>
                <a:spcPts val="0"/>
              </a:spcAft>
              <a:buClr>
                <a:srgbClr val="FFFFFF"/>
              </a:buClr>
              <a:buSzPts val="1400"/>
              <a:buFont typeface="PT Serif"/>
              <a:buNone/>
            </a:pPr>
            <a:r>
              <a:rPr lang="en-US" sz="1200" b="1" i="0" u="none" strike="noStrike" cap="none">
                <a:solidFill>
                  <a:srgbClr val="FFFFFF"/>
                </a:solidFill>
                <a:latin typeface="Source Sans Pro"/>
                <a:ea typeface="Source Sans Pro"/>
                <a:cs typeface="Source Sans Pro"/>
                <a:sym typeface="Source Sans Pro"/>
              </a:rPr>
              <a:t>DHM - Health Apartment</a:t>
            </a:r>
            <a:endParaRPr sz="1200" b="1" i="0" u="none" strike="noStrike" cap="none">
              <a:solidFill>
                <a:srgbClr val="FFFFFF"/>
              </a:solidFill>
              <a:latin typeface="Source Sans Pro"/>
              <a:ea typeface="Source Sans Pro"/>
              <a:cs typeface="Source Sans Pro"/>
              <a:sym typeface="Source Sans Pro"/>
            </a:endParaRPr>
          </a:p>
        </p:txBody>
      </p:sp>
      <p:sp>
        <p:nvSpPr>
          <p:cNvPr id="287" name="Google Shape;287;p4"/>
          <p:cNvSpPr txBox="1"/>
          <p:nvPr/>
        </p:nvSpPr>
        <p:spPr>
          <a:xfrm>
            <a:off x="429120" y="2237023"/>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rgbClr val="0467B8"/>
                </a:solidFill>
                <a:latin typeface="Source Sans Pro"/>
                <a:ea typeface="Source Sans Pro"/>
                <a:cs typeface="Source Sans Pro"/>
                <a:sym typeface="Source Sans Pro"/>
              </a:rPr>
              <a:t>PHASE</a:t>
            </a:r>
            <a:endParaRPr sz="1400" b="0" i="0" u="none" strike="noStrike" cap="none">
              <a:solidFill>
                <a:srgbClr val="000000"/>
              </a:solidFill>
              <a:latin typeface="Arial"/>
              <a:ea typeface="Arial"/>
              <a:cs typeface="Arial"/>
              <a:sym typeface="Arial"/>
            </a:endParaRPr>
          </a:p>
        </p:txBody>
      </p:sp>
      <p:sp>
        <p:nvSpPr>
          <p:cNvPr id="288" name="Google Shape;288;p4"/>
          <p:cNvSpPr txBox="1"/>
          <p:nvPr/>
        </p:nvSpPr>
        <p:spPr>
          <a:xfrm>
            <a:off x="429120" y="2900772"/>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rgbClr val="0467B8"/>
                </a:solidFill>
                <a:latin typeface="Source Sans Pro"/>
                <a:ea typeface="Source Sans Pro"/>
                <a:cs typeface="Source Sans Pro"/>
                <a:sym typeface="Source Sans Pro"/>
              </a:rPr>
              <a:t>SPRINT</a:t>
            </a:r>
            <a:endParaRPr sz="1400" b="0" i="0" u="none" strike="noStrike" cap="none">
              <a:solidFill>
                <a:srgbClr val="000000"/>
              </a:solidFill>
              <a:latin typeface="Arial"/>
              <a:ea typeface="Arial"/>
              <a:cs typeface="Arial"/>
              <a:sym typeface="Arial"/>
            </a:endParaRPr>
          </a:p>
        </p:txBody>
      </p:sp>
      <p:sp>
        <p:nvSpPr>
          <p:cNvPr id="289" name="Google Shape;289;p4"/>
          <p:cNvSpPr txBox="1"/>
          <p:nvPr/>
        </p:nvSpPr>
        <p:spPr>
          <a:xfrm>
            <a:off x="429120" y="3342753"/>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900"/>
              <a:buFont typeface="PT Serif"/>
              <a:buNone/>
            </a:pPr>
            <a:r>
              <a:rPr lang="en-US" sz="1200" b="0" i="0" u="none" strike="noStrike" cap="none">
                <a:solidFill>
                  <a:srgbClr val="0467B8"/>
                </a:solidFill>
                <a:latin typeface="Source Sans Pro"/>
                <a:ea typeface="Source Sans Pro"/>
                <a:cs typeface="Source Sans Pro"/>
                <a:sym typeface="Source Sans Pro"/>
              </a:rPr>
              <a:t>MONTH</a:t>
            </a:r>
            <a:endParaRPr sz="1200" b="0" i="0" u="none" strike="noStrike" cap="none">
              <a:solidFill>
                <a:srgbClr val="0467B8"/>
              </a:solidFill>
              <a:latin typeface="Source Sans Pro"/>
              <a:ea typeface="Source Sans Pro"/>
              <a:cs typeface="Source Sans Pro"/>
              <a:sym typeface="Source Sans Pro"/>
            </a:endParaRPr>
          </a:p>
        </p:txBody>
      </p:sp>
      <p:sp>
        <p:nvSpPr>
          <p:cNvPr id="290" name="Google Shape;290;p4"/>
          <p:cNvSpPr txBox="1"/>
          <p:nvPr/>
        </p:nvSpPr>
        <p:spPr>
          <a:xfrm>
            <a:off x="429120" y="4006965"/>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900"/>
              <a:buFont typeface="PT Serif"/>
              <a:buNone/>
            </a:pPr>
            <a:r>
              <a:rPr lang="en-US" sz="1200" b="0" i="0" u="none" strike="noStrike" cap="none">
                <a:solidFill>
                  <a:srgbClr val="0467B8"/>
                </a:solidFill>
                <a:latin typeface="Source Sans Pro"/>
                <a:ea typeface="Source Sans Pro"/>
                <a:cs typeface="Source Sans Pro"/>
                <a:sym typeface="Source Sans Pro"/>
              </a:rPr>
              <a:t>FOCUS</a:t>
            </a:r>
            <a:endParaRPr sz="1200" b="0" i="0" u="none" strike="noStrike" cap="none">
              <a:solidFill>
                <a:srgbClr val="0467B8"/>
              </a:solidFill>
              <a:latin typeface="Source Sans Pro"/>
              <a:ea typeface="Source Sans Pro"/>
              <a:cs typeface="Source Sans Pro"/>
              <a:sym typeface="Source Sans Pro"/>
            </a:endParaRPr>
          </a:p>
        </p:txBody>
      </p:sp>
      <p:sp>
        <p:nvSpPr>
          <p:cNvPr id="291" name="Google Shape;291;p4"/>
          <p:cNvSpPr txBox="1"/>
          <p:nvPr/>
        </p:nvSpPr>
        <p:spPr>
          <a:xfrm>
            <a:off x="6193907"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2</a:t>
            </a:r>
            <a:endParaRPr sz="1200" b="0" i="0" u="none" strike="noStrike" cap="none">
              <a:solidFill>
                <a:schemeClr val="dk2"/>
              </a:solidFill>
              <a:latin typeface="Source Sans Pro"/>
              <a:ea typeface="Source Sans Pro"/>
              <a:cs typeface="Source Sans Pro"/>
              <a:sym typeface="Source Sans Pro"/>
            </a:endParaRPr>
          </a:p>
        </p:txBody>
      </p:sp>
      <p:sp>
        <p:nvSpPr>
          <p:cNvPr id="292" name="Google Shape;292;p4"/>
          <p:cNvSpPr txBox="1"/>
          <p:nvPr/>
        </p:nvSpPr>
        <p:spPr>
          <a:xfrm>
            <a:off x="6596324"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3</a:t>
            </a:r>
            <a:endParaRPr sz="1200" b="0" i="0" u="none" strike="noStrike" cap="none">
              <a:solidFill>
                <a:schemeClr val="dk2"/>
              </a:solidFill>
              <a:latin typeface="Source Sans Pro"/>
              <a:ea typeface="Source Sans Pro"/>
              <a:cs typeface="Source Sans Pro"/>
              <a:sym typeface="Source Sans Pro"/>
            </a:endParaRPr>
          </a:p>
        </p:txBody>
      </p:sp>
      <p:sp>
        <p:nvSpPr>
          <p:cNvPr id="293" name="Google Shape;293;p4"/>
          <p:cNvSpPr txBox="1"/>
          <p:nvPr/>
        </p:nvSpPr>
        <p:spPr>
          <a:xfrm>
            <a:off x="6998741"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4</a:t>
            </a:r>
            <a:endParaRPr sz="1200" b="0" i="0" u="none" strike="noStrike" cap="none">
              <a:solidFill>
                <a:schemeClr val="dk2"/>
              </a:solidFill>
              <a:latin typeface="Source Sans Pro"/>
              <a:ea typeface="Source Sans Pro"/>
              <a:cs typeface="Source Sans Pro"/>
              <a:sym typeface="Source Sans Pro"/>
            </a:endParaRPr>
          </a:p>
        </p:txBody>
      </p:sp>
      <p:sp>
        <p:nvSpPr>
          <p:cNvPr id="294" name="Google Shape;294;p4"/>
          <p:cNvSpPr txBox="1"/>
          <p:nvPr/>
        </p:nvSpPr>
        <p:spPr>
          <a:xfrm>
            <a:off x="7401158"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5</a:t>
            </a:r>
            <a:endParaRPr sz="1200" b="0" i="0" u="none" strike="noStrike" cap="none">
              <a:solidFill>
                <a:schemeClr val="dk2"/>
              </a:solidFill>
              <a:latin typeface="Source Sans Pro"/>
              <a:ea typeface="Source Sans Pro"/>
              <a:cs typeface="Source Sans Pro"/>
              <a:sym typeface="Source Sans Pro"/>
            </a:endParaRPr>
          </a:p>
        </p:txBody>
      </p:sp>
      <p:sp>
        <p:nvSpPr>
          <p:cNvPr id="295" name="Google Shape;295;p4"/>
          <p:cNvSpPr txBox="1"/>
          <p:nvPr/>
        </p:nvSpPr>
        <p:spPr>
          <a:xfrm>
            <a:off x="6458879" y="3318148"/>
            <a:ext cx="709687" cy="240192"/>
          </a:xfrm>
          <a:prstGeom prst="rect">
            <a:avLst/>
          </a:prstGeom>
          <a:solidFill>
            <a:schemeClr val="accent2"/>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rgbClr val="FDFFFD"/>
                </a:solidFill>
                <a:latin typeface="Source Sans Pro"/>
                <a:ea typeface="Source Sans Pro"/>
                <a:cs typeface="Source Sans Pro"/>
                <a:sym typeface="Source Sans Pro"/>
              </a:rPr>
              <a:t>Mar</a:t>
            </a:r>
            <a:endParaRPr sz="1200" b="0" i="0" u="none" strike="noStrike" cap="none">
              <a:solidFill>
                <a:srgbClr val="FDFFFD"/>
              </a:solidFill>
              <a:latin typeface="Source Sans Pro"/>
              <a:ea typeface="Source Sans Pro"/>
              <a:cs typeface="Source Sans Pro"/>
              <a:sym typeface="Source Sans Pro"/>
            </a:endParaRPr>
          </a:p>
        </p:txBody>
      </p:sp>
      <p:sp>
        <p:nvSpPr>
          <p:cNvPr id="296" name="Google Shape;296;p4"/>
          <p:cNvSpPr txBox="1"/>
          <p:nvPr/>
        </p:nvSpPr>
        <p:spPr>
          <a:xfrm>
            <a:off x="7215219" y="3324497"/>
            <a:ext cx="823894" cy="233843"/>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Apr</a:t>
            </a:r>
            <a:endParaRPr sz="1200" b="0" i="0" u="none" strike="noStrike" cap="none">
              <a:solidFill>
                <a:schemeClr val="dk2"/>
              </a:solidFill>
              <a:latin typeface="Source Sans Pro"/>
              <a:ea typeface="Source Sans Pro"/>
              <a:cs typeface="Source Sans Pro"/>
              <a:sym typeface="Source Sans Pro"/>
            </a:endParaRPr>
          </a:p>
        </p:txBody>
      </p:sp>
      <p:sp>
        <p:nvSpPr>
          <p:cNvPr id="297" name="Google Shape;297;p4"/>
          <p:cNvSpPr txBox="1"/>
          <p:nvPr/>
        </p:nvSpPr>
        <p:spPr>
          <a:xfrm>
            <a:off x="7803575"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6</a:t>
            </a:r>
            <a:endParaRPr sz="1200" b="0" i="0" u="none" strike="noStrike" cap="none">
              <a:solidFill>
                <a:schemeClr val="dk2"/>
              </a:solidFill>
              <a:latin typeface="Source Sans Pro"/>
              <a:ea typeface="Source Sans Pro"/>
              <a:cs typeface="Source Sans Pro"/>
              <a:sym typeface="Source Sans Pro"/>
            </a:endParaRPr>
          </a:p>
        </p:txBody>
      </p:sp>
      <p:sp>
        <p:nvSpPr>
          <p:cNvPr id="298" name="Google Shape;298;p4"/>
          <p:cNvSpPr txBox="1"/>
          <p:nvPr/>
        </p:nvSpPr>
        <p:spPr>
          <a:xfrm>
            <a:off x="8205992"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7</a:t>
            </a:r>
            <a:endParaRPr sz="1200" b="0" i="0" u="none" strike="noStrike" cap="none">
              <a:solidFill>
                <a:schemeClr val="dk2"/>
              </a:solidFill>
              <a:latin typeface="Source Sans Pro"/>
              <a:ea typeface="Source Sans Pro"/>
              <a:cs typeface="Source Sans Pro"/>
              <a:sym typeface="Source Sans Pro"/>
            </a:endParaRPr>
          </a:p>
        </p:txBody>
      </p:sp>
      <p:sp>
        <p:nvSpPr>
          <p:cNvPr id="299" name="Google Shape;299;p4"/>
          <p:cNvSpPr txBox="1"/>
          <p:nvPr/>
        </p:nvSpPr>
        <p:spPr>
          <a:xfrm>
            <a:off x="8608409"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8</a:t>
            </a:r>
            <a:endParaRPr sz="1200" b="0" i="0" u="none" strike="noStrike" cap="none">
              <a:solidFill>
                <a:schemeClr val="dk2"/>
              </a:solidFill>
              <a:latin typeface="Source Sans Pro"/>
              <a:ea typeface="Source Sans Pro"/>
              <a:cs typeface="Source Sans Pro"/>
              <a:sym typeface="Source Sans Pro"/>
            </a:endParaRPr>
          </a:p>
        </p:txBody>
      </p:sp>
      <p:sp>
        <p:nvSpPr>
          <p:cNvPr id="300" name="Google Shape;300;p4"/>
          <p:cNvSpPr txBox="1"/>
          <p:nvPr/>
        </p:nvSpPr>
        <p:spPr>
          <a:xfrm>
            <a:off x="9010826"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9</a:t>
            </a:r>
            <a:endParaRPr sz="1200" b="0" i="0" u="none" strike="noStrike" cap="none">
              <a:solidFill>
                <a:schemeClr val="dk2"/>
              </a:solidFill>
              <a:latin typeface="Source Sans Pro"/>
              <a:ea typeface="Source Sans Pro"/>
              <a:cs typeface="Source Sans Pro"/>
              <a:sym typeface="Source Sans Pro"/>
            </a:endParaRPr>
          </a:p>
        </p:txBody>
      </p:sp>
      <p:sp>
        <p:nvSpPr>
          <p:cNvPr id="301" name="Google Shape;301;p4"/>
          <p:cNvSpPr txBox="1"/>
          <p:nvPr/>
        </p:nvSpPr>
        <p:spPr>
          <a:xfrm>
            <a:off x="9413243"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0</a:t>
            </a:r>
            <a:endParaRPr sz="1200" b="0" i="0" u="none" strike="noStrike" cap="none">
              <a:solidFill>
                <a:schemeClr val="dk2"/>
              </a:solidFill>
              <a:latin typeface="Source Sans Pro"/>
              <a:ea typeface="Source Sans Pro"/>
              <a:cs typeface="Source Sans Pro"/>
              <a:sym typeface="Source Sans Pro"/>
            </a:endParaRPr>
          </a:p>
        </p:txBody>
      </p:sp>
      <p:sp>
        <p:nvSpPr>
          <p:cNvPr id="302" name="Google Shape;302;p4"/>
          <p:cNvSpPr txBox="1"/>
          <p:nvPr/>
        </p:nvSpPr>
        <p:spPr>
          <a:xfrm>
            <a:off x="9815660"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1</a:t>
            </a:r>
            <a:endParaRPr sz="1200" b="0" i="0" u="none" strike="noStrike" cap="none">
              <a:solidFill>
                <a:schemeClr val="dk2"/>
              </a:solidFill>
              <a:latin typeface="Source Sans Pro"/>
              <a:ea typeface="Source Sans Pro"/>
              <a:cs typeface="Source Sans Pro"/>
              <a:sym typeface="Source Sans Pro"/>
            </a:endParaRPr>
          </a:p>
        </p:txBody>
      </p:sp>
      <p:sp>
        <p:nvSpPr>
          <p:cNvPr id="303" name="Google Shape;303;p4"/>
          <p:cNvSpPr txBox="1"/>
          <p:nvPr/>
        </p:nvSpPr>
        <p:spPr>
          <a:xfrm>
            <a:off x="10218077"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2</a:t>
            </a:r>
            <a:endParaRPr sz="1200" b="0" i="0" u="none" strike="noStrike" cap="none">
              <a:solidFill>
                <a:schemeClr val="dk2"/>
              </a:solidFill>
              <a:latin typeface="Source Sans Pro"/>
              <a:ea typeface="Source Sans Pro"/>
              <a:cs typeface="Source Sans Pro"/>
              <a:sym typeface="Source Sans Pro"/>
            </a:endParaRPr>
          </a:p>
        </p:txBody>
      </p:sp>
      <p:sp>
        <p:nvSpPr>
          <p:cNvPr id="304" name="Google Shape;304;p4"/>
          <p:cNvSpPr txBox="1"/>
          <p:nvPr/>
        </p:nvSpPr>
        <p:spPr>
          <a:xfrm>
            <a:off x="10620494"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3</a:t>
            </a:r>
            <a:endParaRPr sz="1200" b="0" i="0" u="none" strike="noStrike" cap="none">
              <a:solidFill>
                <a:schemeClr val="dk2"/>
              </a:solidFill>
              <a:latin typeface="Source Sans Pro"/>
              <a:ea typeface="Source Sans Pro"/>
              <a:cs typeface="Source Sans Pro"/>
              <a:sym typeface="Source Sans Pro"/>
            </a:endParaRPr>
          </a:p>
        </p:txBody>
      </p:sp>
      <p:sp>
        <p:nvSpPr>
          <p:cNvPr id="305" name="Google Shape;305;p4"/>
          <p:cNvSpPr txBox="1"/>
          <p:nvPr/>
        </p:nvSpPr>
        <p:spPr>
          <a:xfrm>
            <a:off x="11022911"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4</a:t>
            </a:r>
            <a:endParaRPr sz="1200" b="0" i="0" u="none" strike="noStrike" cap="none">
              <a:solidFill>
                <a:schemeClr val="dk2"/>
              </a:solidFill>
              <a:latin typeface="Source Sans Pro"/>
              <a:ea typeface="Source Sans Pro"/>
              <a:cs typeface="Source Sans Pro"/>
              <a:sym typeface="Source Sans Pro"/>
            </a:endParaRPr>
          </a:p>
        </p:txBody>
      </p:sp>
      <p:sp>
        <p:nvSpPr>
          <p:cNvPr id="306" name="Google Shape;306;p4"/>
          <p:cNvSpPr txBox="1"/>
          <p:nvPr/>
        </p:nvSpPr>
        <p:spPr>
          <a:xfrm>
            <a:off x="11425328"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5</a:t>
            </a:r>
            <a:endParaRPr sz="1200" b="0" i="0" u="none" strike="noStrike" cap="none">
              <a:solidFill>
                <a:schemeClr val="dk2"/>
              </a:solidFill>
              <a:latin typeface="Source Sans Pro"/>
              <a:ea typeface="Source Sans Pro"/>
              <a:cs typeface="Source Sans Pro"/>
              <a:sym typeface="Source Sans Pro"/>
            </a:endParaRPr>
          </a:p>
        </p:txBody>
      </p:sp>
      <p:sp>
        <p:nvSpPr>
          <p:cNvPr id="307" name="Google Shape;307;p4"/>
          <p:cNvSpPr txBox="1"/>
          <p:nvPr/>
        </p:nvSpPr>
        <p:spPr>
          <a:xfrm>
            <a:off x="8080568" y="3318148"/>
            <a:ext cx="803143"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May</a:t>
            </a:r>
            <a:endParaRPr sz="1200" b="0" i="0" u="none" strike="noStrike" cap="none">
              <a:solidFill>
                <a:schemeClr val="dk2"/>
              </a:solidFill>
              <a:latin typeface="Source Sans Pro"/>
              <a:ea typeface="Source Sans Pro"/>
              <a:cs typeface="Source Sans Pro"/>
              <a:sym typeface="Source Sans Pro"/>
            </a:endParaRPr>
          </a:p>
        </p:txBody>
      </p:sp>
      <p:sp>
        <p:nvSpPr>
          <p:cNvPr id="308" name="Google Shape;308;p4"/>
          <p:cNvSpPr txBox="1"/>
          <p:nvPr/>
        </p:nvSpPr>
        <p:spPr>
          <a:xfrm>
            <a:off x="8930364" y="3318148"/>
            <a:ext cx="774989"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Jun</a:t>
            </a:r>
            <a:endParaRPr sz="1200" b="0" i="0" u="none" strike="noStrike" cap="none">
              <a:solidFill>
                <a:schemeClr val="dk2"/>
              </a:solidFill>
              <a:latin typeface="Source Sans Pro"/>
              <a:ea typeface="Source Sans Pro"/>
              <a:cs typeface="Source Sans Pro"/>
              <a:sym typeface="Source Sans Pro"/>
            </a:endParaRPr>
          </a:p>
        </p:txBody>
      </p:sp>
      <p:sp>
        <p:nvSpPr>
          <p:cNvPr id="309" name="Google Shape;309;p4"/>
          <p:cNvSpPr txBox="1"/>
          <p:nvPr/>
        </p:nvSpPr>
        <p:spPr>
          <a:xfrm>
            <a:off x="9746808" y="3318148"/>
            <a:ext cx="852888"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Jul</a:t>
            </a:r>
            <a:endParaRPr sz="1200" b="0" i="0" u="none" strike="noStrike" cap="none">
              <a:solidFill>
                <a:schemeClr val="dk2"/>
              </a:solidFill>
              <a:latin typeface="Source Sans Pro"/>
              <a:ea typeface="Source Sans Pro"/>
              <a:cs typeface="Source Sans Pro"/>
              <a:sym typeface="Source Sans Pro"/>
            </a:endParaRPr>
          </a:p>
        </p:txBody>
      </p:sp>
      <p:sp>
        <p:nvSpPr>
          <p:cNvPr id="310" name="Google Shape;310;p4"/>
          <p:cNvSpPr txBox="1"/>
          <p:nvPr/>
        </p:nvSpPr>
        <p:spPr>
          <a:xfrm>
            <a:off x="10647770" y="3318148"/>
            <a:ext cx="852888"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Aug</a:t>
            </a:r>
            <a:endParaRPr sz="1200" b="0" i="0" u="none" strike="noStrike" cap="none">
              <a:solidFill>
                <a:schemeClr val="dk2"/>
              </a:solidFill>
              <a:latin typeface="Source Sans Pro"/>
              <a:ea typeface="Source Sans Pro"/>
              <a:cs typeface="Source Sans Pro"/>
              <a:sym typeface="Source Sans Pro"/>
            </a:endParaRPr>
          </a:p>
        </p:txBody>
      </p:sp>
      <p:sp>
        <p:nvSpPr>
          <p:cNvPr id="311" name="Google Shape;311;p4"/>
          <p:cNvSpPr txBox="1"/>
          <p:nvPr/>
        </p:nvSpPr>
        <p:spPr>
          <a:xfrm>
            <a:off x="5185647" y="4475667"/>
            <a:ext cx="2215511" cy="458547"/>
          </a:xfrm>
          <a:prstGeom prst="rect">
            <a:avLst/>
          </a:prstGeom>
          <a:solidFill>
            <a:srgbClr val="0365B9"/>
          </a:solidFill>
          <a:ln>
            <a:noFill/>
          </a:ln>
        </p:spPr>
        <p:txBody>
          <a:bodyPr spcFirstLastPara="1" wrap="square" lIns="121900" tIns="121900" rIns="121900" bIns="121900" anchor="t" anchorCtr="0">
            <a:spAutoFit/>
          </a:bodyPr>
          <a:lstStyle/>
          <a:p>
            <a:pPr marL="0" marR="0" lvl="0" indent="0" algn="l" rtl="0">
              <a:lnSpc>
                <a:spcPct val="115000"/>
              </a:lnSpc>
              <a:spcBef>
                <a:spcPts val="0"/>
              </a:spcBef>
              <a:spcAft>
                <a:spcPts val="0"/>
              </a:spcAft>
              <a:buClr>
                <a:schemeClr val="lt1"/>
              </a:buClr>
              <a:buSzPts val="1200"/>
              <a:buFont typeface="Source Sans Pro"/>
              <a:buNone/>
            </a:pPr>
            <a:r>
              <a:rPr lang="en-US" sz="1200" b="1" i="0" u="none" strike="noStrike" cap="none">
                <a:solidFill>
                  <a:schemeClr val="lt1"/>
                </a:solidFill>
                <a:latin typeface="Source Sans Pro"/>
                <a:ea typeface="Source Sans Pro"/>
                <a:cs typeface="Source Sans Pro"/>
                <a:sym typeface="Source Sans Pro"/>
              </a:rPr>
              <a:t>1095-B Form</a:t>
            </a:r>
            <a:endParaRPr sz="1200" b="1" i="0" u="none" strike="noStrike" cap="none">
              <a:solidFill>
                <a:schemeClr val="lt1"/>
              </a:solidFill>
              <a:latin typeface="Source Sans Pro"/>
              <a:ea typeface="Source Sans Pro"/>
              <a:cs typeface="Source Sans Pro"/>
              <a:sym typeface="Source Sans Pro"/>
            </a:endParaRPr>
          </a:p>
        </p:txBody>
      </p:sp>
      <p:sp>
        <p:nvSpPr>
          <p:cNvPr id="312" name="Google Shape;312;p4"/>
          <p:cNvSpPr txBox="1"/>
          <p:nvPr/>
        </p:nvSpPr>
        <p:spPr>
          <a:xfrm>
            <a:off x="6696443" y="5053705"/>
            <a:ext cx="1107132" cy="615513"/>
          </a:xfrm>
          <a:prstGeom prst="rect">
            <a:avLst/>
          </a:prstGeom>
          <a:solidFill>
            <a:schemeClr val="accent6"/>
          </a:solidFill>
          <a:ln>
            <a:noFill/>
          </a:ln>
        </p:spPr>
        <p:txBody>
          <a:bodyPr spcFirstLastPara="1" wrap="square" lIns="121900" tIns="121900" rIns="121900" bIns="121900" anchor="t" anchorCtr="0">
            <a:spAutoFit/>
          </a:bodyPr>
          <a:lstStyle/>
          <a:p>
            <a:pPr>
              <a:buSzPts val="900"/>
            </a:pPr>
            <a:r>
              <a:rPr lang="en-US" sz="1200" b="1">
                <a:solidFill>
                  <a:schemeClr val="dk2"/>
                </a:solidFill>
                <a:latin typeface="Source Sans Pro"/>
                <a:ea typeface="Source Sans Pro"/>
                <a:cs typeface="Source Sans Pro"/>
                <a:sym typeface="Source Sans Pro"/>
              </a:rPr>
              <a:t>Community Care</a:t>
            </a:r>
            <a:endParaRPr lang="en-US" sz="1200" b="1" i="0" u="none" strike="noStrike" cap="none">
              <a:solidFill>
                <a:schemeClr val="dk2"/>
              </a:solidFill>
              <a:latin typeface="Source Sans Pro"/>
              <a:ea typeface="Source Sans Pro"/>
              <a:cs typeface="Source Sans Pro"/>
            </a:endParaRPr>
          </a:p>
        </p:txBody>
      </p:sp>
      <p:sp>
        <p:nvSpPr>
          <p:cNvPr id="313" name="Google Shape;313;p4"/>
          <p:cNvSpPr txBox="1"/>
          <p:nvPr/>
        </p:nvSpPr>
        <p:spPr>
          <a:xfrm>
            <a:off x="4918343" y="2149475"/>
            <a:ext cx="2743200"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565956"/>
              </a:buClr>
              <a:buSzPts val="1400"/>
              <a:buFont typeface="PT Serif"/>
              <a:buNone/>
            </a:pPr>
            <a:r>
              <a:rPr lang="en-US" sz="1400" b="0" i="0" u="none" strike="noStrike" cap="none">
                <a:solidFill>
                  <a:srgbClr val="565956"/>
                </a:solidFill>
                <a:latin typeface="PT Serif"/>
                <a:ea typeface="PT Serif"/>
                <a:cs typeface="PT Serif"/>
                <a:sym typeface="PT Serif"/>
              </a:rPr>
              <a:t>CY 2022</a:t>
            </a:r>
            <a:endParaRPr sz="1800" b="0" i="0" u="none" strike="noStrike" cap="none">
              <a:solidFill>
                <a:schemeClr val="dk1"/>
              </a:solidFill>
              <a:latin typeface="Calibri"/>
              <a:ea typeface="Calibri"/>
              <a:cs typeface="Calibri"/>
              <a:sym typeface="Calibri"/>
            </a:endParaRPr>
          </a:p>
        </p:txBody>
      </p:sp>
      <p:sp>
        <p:nvSpPr>
          <p:cNvPr id="314" name="Google Shape;314;p4"/>
          <p:cNvSpPr txBox="1"/>
          <p:nvPr/>
        </p:nvSpPr>
        <p:spPr>
          <a:xfrm>
            <a:off x="1262556" y="2143124"/>
            <a:ext cx="2743200"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565956"/>
              </a:buClr>
              <a:buSzPts val="1400"/>
              <a:buFont typeface="PT Serif"/>
              <a:buNone/>
            </a:pPr>
            <a:r>
              <a:rPr lang="en-US" sz="1400" b="0" i="0" u="none" strike="noStrike" cap="none">
                <a:solidFill>
                  <a:srgbClr val="565956"/>
                </a:solidFill>
                <a:latin typeface="PT Serif"/>
                <a:ea typeface="PT Serif"/>
                <a:cs typeface="PT Serif"/>
                <a:sym typeface="PT Serif"/>
              </a:rPr>
              <a:t>CY 2021</a:t>
            </a:r>
            <a:endParaRPr sz="1800" b="0" i="0" u="none" strike="noStrike" cap="none">
              <a:solidFill>
                <a:schemeClr val="dk1"/>
              </a:solidFill>
              <a:latin typeface="Calibri"/>
              <a:ea typeface="Calibri"/>
              <a:cs typeface="Calibri"/>
              <a:sym typeface="Calibri"/>
            </a:endParaRPr>
          </a:p>
        </p:txBody>
      </p:sp>
      <p:grpSp>
        <p:nvGrpSpPr>
          <p:cNvPr id="315" name="Google Shape;315;p4"/>
          <p:cNvGrpSpPr/>
          <p:nvPr/>
        </p:nvGrpSpPr>
        <p:grpSpPr>
          <a:xfrm>
            <a:off x="6689755" y="1729614"/>
            <a:ext cx="1365250" cy="4489943"/>
            <a:chOff x="5416154" y="1278331"/>
            <a:chExt cx="1365250" cy="4489943"/>
          </a:xfrm>
        </p:grpSpPr>
        <p:cxnSp>
          <p:nvCxnSpPr>
            <p:cNvPr id="316" name="Google Shape;316;p4"/>
            <p:cNvCxnSpPr/>
            <p:nvPr/>
          </p:nvCxnSpPr>
          <p:spPr>
            <a:xfrm>
              <a:off x="6086666" y="1493924"/>
              <a:ext cx="8833" cy="4274350"/>
            </a:xfrm>
            <a:prstGeom prst="straightConnector1">
              <a:avLst/>
            </a:prstGeom>
            <a:noFill/>
            <a:ln w="12700" cap="flat" cmpd="sng">
              <a:solidFill>
                <a:srgbClr val="A1AEBF"/>
              </a:solidFill>
              <a:prstDash val="solid"/>
              <a:round/>
              <a:headEnd type="none" w="sm" len="sm"/>
              <a:tailEnd type="none" w="sm" len="sm"/>
            </a:ln>
          </p:spPr>
        </p:cxnSp>
        <p:grpSp>
          <p:nvGrpSpPr>
            <p:cNvPr id="317" name="Google Shape;317;p4"/>
            <p:cNvGrpSpPr/>
            <p:nvPr/>
          </p:nvGrpSpPr>
          <p:grpSpPr>
            <a:xfrm>
              <a:off x="5416154" y="1278331"/>
              <a:ext cx="1365250" cy="511599"/>
              <a:chOff x="5536804" y="1310081"/>
              <a:chExt cx="1365250" cy="511599"/>
            </a:xfrm>
          </p:grpSpPr>
          <p:sp>
            <p:nvSpPr>
              <p:cNvPr id="318" name="Google Shape;318;p4"/>
              <p:cNvSpPr/>
              <p:nvPr/>
            </p:nvSpPr>
            <p:spPr>
              <a:xfrm>
                <a:off x="5536804" y="1310081"/>
                <a:ext cx="1365250" cy="393700"/>
              </a:xfrm>
              <a:prstGeom prst="roundRect">
                <a:avLst>
                  <a:gd name="adj" fmla="val 16667"/>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Source Sans Pro"/>
                  <a:buNone/>
                </a:pPr>
                <a:r>
                  <a:rPr lang="en-US" sz="1400" b="0" i="0" u="none" strike="noStrike" cap="none">
                    <a:solidFill>
                      <a:schemeClr val="dk1"/>
                    </a:solidFill>
                    <a:latin typeface="Source Sans Pro"/>
                    <a:ea typeface="Source Sans Pro"/>
                    <a:cs typeface="Source Sans Pro"/>
                    <a:sym typeface="Source Sans Pro"/>
                  </a:rPr>
                  <a:t>We are here</a:t>
                </a:r>
                <a:endParaRPr sz="1400" b="0" i="0" u="none" strike="noStrike" cap="none">
                  <a:solidFill>
                    <a:schemeClr val="dk1"/>
                  </a:solidFill>
                  <a:latin typeface="Arial"/>
                  <a:ea typeface="Arial"/>
                  <a:cs typeface="Arial"/>
                  <a:sym typeface="Arial"/>
                </a:endParaRPr>
              </a:p>
            </p:txBody>
          </p:sp>
          <p:sp>
            <p:nvSpPr>
              <p:cNvPr id="319" name="Google Shape;319;p4"/>
              <p:cNvSpPr/>
              <p:nvPr/>
            </p:nvSpPr>
            <p:spPr>
              <a:xfrm rot="10800000">
                <a:off x="6140083" y="1692246"/>
                <a:ext cx="134467" cy="129434"/>
              </a:xfrm>
              <a:prstGeom prst="triangle">
                <a:avLst>
                  <a:gd name="adj" fmla="val 50000"/>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grpSp>
      </p:grpSp>
      <p:sp>
        <p:nvSpPr>
          <p:cNvPr id="60" name="Google Shape;312;p4">
            <a:extLst>
              <a:ext uri="{FF2B5EF4-FFF2-40B4-BE49-F238E27FC236}">
                <a16:creationId xmlns:a16="http://schemas.microsoft.com/office/drawing/2014/main" id="{95952E1E-7F78-EB4E-C8DB-6C613AD4FCEC}"/>
              </a:ext>
            </a:extLst>
          </p:cNvPr>
          <p:cNvSpPr txBox="1"/>
          <p:nvPr/>
        </p:nvSpPr>
        <p:spPr>
          <a:xfrm>
            <a:off x="7399639" y="5788710"/>
            <a:ext cx="4079650" cy="430847"/>
          </a:xfrm>
          <a:prstGeom prst="rect">
            <a:avLst/>
          </a:prstGeom>
          <a:solidFill>
            <a:schemeClr val="accent6"/>
          </a:solidFill>
          <a:ln>
            <a:noFill/>
          </a:ln>
        </p:spPr>
        <p:txBody>
          <a:bodyPr spcFirstLastPara="1" wrap="square" lIns="121900" tIns="121900" rIns="121900" bIns="121900" anchor="t" anchorCtr="0">
            <a:spAutoFit/>
          </a:bodyPr>
          <a:lstStyle/>
          <a:p>
            <a:r>
              <a:rPr lang="en-US" sz="1200" b="1">
                <a:solidFill>
                  <a:schemeClr val="dk2"/>
                </a:solidFill>
                <a:latin typeface="Source Sans Pro"/>
                <a:ea typeface="Source Sans Pro"/>
                <a:sym typeface="Source Sans Pro"/>
              </a:rPr>
              <a:t>After Visit Summary</a:t>
            </a:r>
            <a:endParaRPr lang="en-US"/>
          </a:p>
        </p:txBody>
      </p:sp>
      <p:sp>
        <p:nvSpPr>
          <p:cNvPr id="61" name="Google Shape;311;p4">
            <a:extLst>
              <a:ext uri="{FF2B5EF4-FFF2-40B4-BE49-F238E27FC236}">
                <a16:creationId xmlns:a16="http://schemas.microsoft.com/office/drawing/2014/main" id="{C51DA092-9C64-E1F6-D5F1-DF5C36135B45}"/>
              </a:ext>
            </a:extLst>
          </p:cNvPr>
          <p:cNvSpPr txBox="1"/>
          <p:nvPr/>
        </p:nvSpPr>
        <p:spPr>
          <a:xfrm>
            <a:off x="7375472" y="4475667"/>
            <a:ext cx="4227782" cy="458547"/>
          </a:xfrm>
          <a:prstGeom prst="rect">
            <a:avLst/>
          </a:prstGeom>
          <a:solidFill>
            <a:srgbClr val="0365B9">
              <a:alpha val="32000"/>
            </a:srgbClr>
          </a:solidFill>
          <a:ln>
            <a:noFill/>
          </a:ln>
        </p:spPr>
        <p:txBody>
          <a:bodyPr spcFirstLastPara="1" wrap="square" lIns="121900" tIns="121900" rIns="121900" bIns="121900" anchor="t" anchorCtr="0">
            <a:spAutoFit/>
          </a:bodyPr>
          <a:lstStyle/>
          <a:p>
            <a:pPr>
              <a:lnSpc>
                <a:spcPct val="115000"/>
              </a:lnSpc>
              <a:buClr>
                <a:schemeClr val="lt1"/>
              </a:buClr>
              <a:buSzPts val="1200"/>
              <a:buFont typeface="Source Sans Pro"/>
            </a:pPr>
            <a:r>
              <a:rPr lang="en-US" sz="1200" b="1">
                <a:solidFill>
                  <a:schemeClr val="tx1">
                    <a:lumMod val="50000"/>
                    <a:lumOff val="50000"/>
                  </a:schemeClr>
                </a:solidFill>
                <a:latin typeface="Source Sans Pro"/>
                <a:ea typeface="Source Sans Pro"/>
                <a:cs typeface="Source Sans Pro"/>
              </a:rPr>
              <a:t>Follow ups as needed</a:t>
            </a:r>
            <a:endParaRPr lang="en-US" sz="1200" b="1" i="0" u="none" strike="noStrike" cap="none">
              <a:solidFill>
                <a:schemeClr val="tx1">
                  <a:lumMod val="50000"/>
                  <a:lumOff val="50000"/>
                </a:schemeClr>
              </a:solidFill>
              <a:latin typeface="Source Sans Pro"/>
              <a:ea typeface="Source Sans Pro"/>
              <a:cs typeface="Source Sans Pro"/>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34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1E20C5D-5BD2-4B21-955F-CDE71A6075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1"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91E20C5D-5BD2-4B21-955F-CDE71A6075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0" name="Google Shape;396;p7">
            <a:extLst>
              <a:ext uri="{FF2B5EF4-FFF2-40B4-BE49-F238E27FC236}">
                <a16:creationId xmlns:a16="http://schemas.microsoft.com/office/drawing/2014/main" id="{23C0FF3C-861F-42A1-BD37-345295530B62}"/>
              </a:ext>
            </a:extLst>
          </p:cNvPr>
          <p:cNvCxnSpPr/>
          <p:nvPr/>
        </p:nvCxnSpPr>
        <p:spPr>
          <a:xfrm>
            <a:off x="11498181" y="1746163"/>
            <a:ext cx="0" cy="4345725"/>
          </a:xfrm>
          <a:prstGeom prst="straightConnector1">
            <a:avLst/>
          </a:prstGeom>
          <a:noFill/>
          <a:ln w="9525" cap="flat" cmpd="sng">
            <a:solidFill>
              <a:srgbClr val="7F7F7F"/>
            </a:solidFill>
            <a:prstDash val="solid"/>
            <a:round/>
            <a:headEnd type="none" w="sm" len="sm"/>
            <a:tailEnd type="none" w="sm" len="sm"/>
          </a:ln>
        </p:spPr>
      </p:cxnSp>
      <p:sp>
        <p:nvSpPr>
          <p:cNvPr id="343" name="Google Shape;343;p7"/>
          <p:cNvSpPr/>
          <p:nvPr/>
        </p:nvSpPr>
        <p:spPr>
          <a:xfrm>
            <a:off x="9541417" y="1755202"/>
            <a:ext cx="1942295" cy="4472388"/>
          </a:xfrm>
          <a:prstGeom prst="rect">
            <a:avLst/>
          </a:prstGeom>
          <a:solidFill>
            <a:srgbClr val="D3E9FF">
              <a:alpha val="4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900"/>
              <a:buFont typeface="Calibri"/>
              <a:buNone/>
            </a:pPr>
            <a:endParaRPr sz="900" b="0" i="0" u="none" strike="noStrike" cap="none">
              <a:solidFill>
                <a:srgbClr val="FDFFFD"/>
              </a:solidFill>
              <a:latin typeface="PT Serif"/>
              <a:ea typeface="PT Serif"/>
              <a:cs typeface="PT Serif"/>
              <a:sym typeface="PT Serif"/>
            </a:endParaRPr>
          </a:p>
        </p:txBody>
      </p:sp>
      <p:sp>
        <p:nvSpPr>
          <p:cNvPr id="344" name="Google Shape;344;p7"/>
          <p:cNvSpPr txBox="1">
            <a:spLocks noGrp="1"/>
          </p:cNvSpPr>
          <p:nvPr>
            <p:ph type="title"/>
          </p:nvPr>
        </p:nvSpPr>
        <p:spPr>
          <a:xfrm>
            <a:off x="287025" y="380189"/>
            <a:ext cx="11353800" cy="746983"/>
          </a:xfrm>
          <a:prstGeom prst="rect">
            <a:avLst/>
          </a:prstGeom>
          <a:noFill/>
          <a:ln>
            <a:noFill/>
          </a:ln>
        </p:spPr>
        <p:txBody>
          <a:bodyPr spcFirstLastPara="1" wrap="square" lIns="91425" tIns="45700" rIns="91425" bIns="45700" anchor="t" anchorCtr="0">
            <a:normAutofit/>
          </a:bodyPr>
          <a:lstStyle/>
          <a:p>
            <a:r>
              <a:rPr lang="en-US"/>
              <a:t>Current Workplan</a:t>
            </a:r>
          </a:p>
        </p:txBody>
      </p:sp>
      <p:sp>
        <p:nvSpPr>
          <p:cNvPr id="345" name="Google Shape;345;p7"/>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5</a:t>
            </a:fld>
            <a:endParaRPr>
              <a:latin typeface="Source Sans Pro"/>
              <a:ea typeface="Source Sans Pro"/>
              <a:cs typeface="Source Sans Pro"/>
              <a:sym typeface="Source Sans Pro"/>
            </a:endParaRPr>
          </a:p>
        </p:txBody>
      </p:sp>
      <p:sp>
        <p:nvSpPr>
          <p:cNvPr id="358" name="Google Shape;358;p7"/>
          <p:cNvSpPr txBox="1"/>
          <p:nvPr/>
        </p:nvSpPr>
        <p:spPr>
          <a:xfrm>
            <a:off x="1409511" y="1805982"/>
            <a:ext cx="65808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4: 02/09 – 02/16</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59" name="Google Shape;359;p7"/>
          <p:cNvSpPr txBox="1"/>
          <p:nvPr/>
        </p:nvSpPr>
        <p:spPr>
          <a:xfrm>
            <a:off x="2480565" y="1833414"/>
            <a:ext cx="66215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5: 02/16 – 02/23</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0" name="Google Shape;360;p7"/>
          <p:cNvSpPr txBox="1"/>
          <p:nvPr/>
        </p:nvSpPr>
        <p:spPr>
          <a:xfrm>
            <a:off x="3525674" y="1823730"/>
            <a:ext cx="67452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6: 02/23 – 03/02</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1" name="Google Shape;361;p7"/>
          <p:cNvSpPr txBox="1"/>
          <p:nvPr/>
        </p:nvSpPr>
        <p:spPr>
          <a:xfrm>
            <a:off x="4616209" y="1815352"/>
            <a:ext cx="616179"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7: 03/02- 03/09</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2" name="Google Shape;362;p7"/>
          <p:cNvSpPr txBox="1"/>
          <p:nvPr/>
        </p:nvSpPr>
        <p:spPr>
          <a:xfrm>
            <a:off x="6760194" y="1824270"/>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9: 03/16 – 03/23</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3" name="Google Shape;363;p7"/>
          <p:cNvSpPr txBox="1"/>
          <p:nvPr/>
        </p:nvSpPr>
        <p:spPr>
          <a:xfrm>
            <a:off x="5677222" y="1805982"/>
            <a:ext cx="66763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8: 03/09 – 03/16</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6" name="Google Shape;366;p7"/>
          <p:cNvSpPr txBox="1"/>
          <p:nvPr/>
        </p:nvSpPr>
        <p:spPr>
          <a:xfrm>
            <a:off x="1362215"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2</a:t>
            </a:r>
            <a:endParaRPr/>
          </a:p>
        </p:txBody>
      </p:sp>
      <p:sp>
        <p:nvSpPr>
          <p:cNvPr id="367" name="Google Shape;367;p7"/>
          <p:cNvSpPr txBox="1"/>
          <p:nvPr/>
        </p:nvSpPr>
        <p:spPr>
          <a:xfrm>
            <a:off x="3512389"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3</a:t>
            </a:r>
            <a:endParaRPr/>
          </a:p>
        </p:txBody>
      </p:sp>
      <p:sp>
        <p:nvSpPr>
          <p:cNvPr id="368" name="Google Shape;368;p7"/>
          <p:cNvSpPr txBox="1"/>
          <p:nvPr/>
        </p:nvSpPr>
        <p:spPr>
          <a:xfrm>
            <a:off x="5595468"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4</a:t>
            </a:r>
            <a:endParaRPr/>
          </a:p>
        </p:txBody>
      </p:sp>
      <p:sp>
        <p:nvSpPr>
          <p:cNvPr id="369" name="Google Shape;369;p7"/>
          <p:cNvSpPr txBox="1"/>
          <p:nvPr/>
        </p:nvSpPr>
        <p:spPr>
          <a:xfrm>
            <a:off x="7594514" y="1822925"/>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0: 03/23 – 03/30</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70" name="Google Shape;370;p7"/>
          <p:cNvSpPr txBox="1"/>
          <p:nvPr/>
        </p:nvSpPr>
        <p:spPr>
          <a:xfrm>
            <a:off x="7559976" y="1571003"/>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5</a:t>
            </a:r>
            <a:endParaRPr/>
          </a:p>
        </p:txBody>
      </p:sp>
      <p:sp>
        <p:nvSpPr>
          <p:cNvPr id="371" name="Google Shape;371;p7"/>
          <p:cNvSpPr/>
          <p:nvPr/>
        </p:nvSpPr>
        <p:spPr>
          <a:xfrm>
            <a:off x="1362215" y="4472952"/>
            <a:ext cx="2084815" cy="359180"/>
          </a:xfrm>
          <a:prstGeom prst="rect">
            <a:avLst/>
          </a:prstGeom>
          <a:solidFill>
            <a:schemeClr val="accent6"/>
          </a:solidFill>
          <a:ln>
            <a:noFill/>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POC for data flow</a:t>
            </a:r>
            <a:endParaRPr sz="850" b="0" i="0" u="none" strike="noStrike" cap="none">
              <a:solidFill>
                <a:schemeClr val="accent1"/>
              </a:solidFill>
              <a:latin typeface="Source Sans Pro"/>
              <a:ea typeface="Source Sans Pro"/>
              <a:cs typeface="Source Sans Pro"/>
              <a:sym typeface="Source Sans Pro"/>
            </a:endParaRPr>
          </a:p>
        </p:txBody>
      </p:sp>
      <p:sp>
        <p:nvSpPr>
          <p:cNvPr id="372" name="Google Shape;372;p7"/>
          <p:cNvSpPr/>
          <p:nvPr/>
        </p:nvSpPr>
        <p:spPr>
          <a:xfrm>
            <a:off x="7560852" y="4852637"/>
            <a:ext cx="3903358" cy="353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a:buSzPts val="900"/>
              <a:buFont typeface="PT Serif"/>
            </a:pPr>
            <a:r>
              <a:rPr lang="en-US" sz="850">
                <a:solidFill>
                  <a:schemeClr val="accent1"/>
                </a:solidFill>
                <a:latin typeface="Source Sans Pro"/>
                <a:ea typeface="Source Sans Pro"/>
                <a:sym typeface="Source Sans Pro"/>
              </a:rPr>
              <a:t>1095-B Test &amp; Refine</a:t>
            </a:r>
            <a:endParaRPr lang="en-US" sz="850">
              <a:solidFill>
                <a:schemeClr val="accent1"/>
              </a:solidFill>
              <a:latin typeface="Source Sans Pro"/>
              <a:ea typeface="Source Sans Pro"/>
            </a:endParaRPr>
          </a:p>
        </p:txBody>
      </p:sp>
      <p:sp>
        <p:nvSpPr>
          <p:cNvPr id="376" name="Google Shape;376;p7"/>
          <p:cNvSpPr/>
          <p:nvPr/>
        </p:nvSpPr>
        <p:spPr>
          <a:xfrm>
            <a:off x="352223" y="2274058"/>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Product &amp; Delivery</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377" name="Google Shape;377;p7"/>
          <p:cNvSpPr/>
          <p:nvPr/>
        </p:nvSpPr>
        <p:spPr>
          <a:xfrm>
            <a:off x="340765" y="4489485"/>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Engineering &amp; Development</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378" name="Google Shape;378;p7"/>
          <p:cNvSpPr txBox="1"/>
          <p:nvPr/>
        </p:nvSpPr>
        <p:spPr>
          <a:xfrm>
            <a:off x="1609778" y="3534714"/>
            <a:ext cx="529394" cy="28713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Voice of Veteran </a:t>
            </a:r>
            <a:endParaRPr sz="900" b="0" i="0" u="none" strike="noStrike" cap="none">
              <a:solidFill>
                <a:srgbClr val="202120"/>
              </a:solidFill>
              <a:latin typeface="PT Serif"/>
              <a:ea typeface="PT Serif"/>
              <a:cs typeface="PT Serif"/>
              <a:sym typeface="PT Serif"/>
            </a:endParaRPr>
          </a:p>
        </p:txBody>
      </p:sp>
      <p:sp>
        <p:nvSpPr>
          <p:cNvPr id="379" name="Google Shape;379;p7"/>
          <p:cNvSpPr txBox="1"/>
          <p:nvPr/>
        </p:nvSpPr>
        <p:spPr>
          <a:xfrm>
            <a:off x="4486869" y="3548205"/>
            <a:ext cx="529394" cy="28713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Voice of Veteran </a:t>
            </a:r>
            <a:endParaRPr sz="900" b="0" i="0" u="none" strike="noStrike" cap="none">
              <a:solidFill>
                <a:srgbClr val="202120"/>
              </a:solidFill>
              <a:latin typeface="PT Serif"/>
              <a:ea typeface="PT Serif"/>
              <a:cs typeface="PT Serif"/>
              <a:sym typeface="PT Serif"/>
            </a:endParaRPr>
          </a:p>
        </p:txBody>
      </p:sp>
      <p:sp>
        <p:nvSpPr>
          <p:cNvPr id="380" name="Google Shape;380;p7"/>
          <p:cNvSpPr/>
          <p:nvPr/>
        </p:nvSpPr>
        <p:spPr>
          <a:xfrm>
            <a:off x="1833327" y="3407811"/>
            <a:ext cx="82296" cy="82576"/>
          </a:xfrm>
          <a:prstGeom prst="ellipse">
            <a:avLst/>
          </a:prstGeom>
          <a:solidFill>
            <a:schemeClr val="dk1"/>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381" name="Google Shape;381;p7"/>
          <p:cNvSpPr/>
          <p:nvPr/>
        </p:nvSpPr>
        <p:spPr>
          <a:xfrm>
            <a:off x="4610378" y="3414950"/>
            <a:ext cx="82296" cy="82576"/>
          </a:xfrm>
          <a:prstGeom prst="ellipse">
            <a:avLst/>
          </a:prstGeom>
          <a:solidFill>
            <a:schemeClr val="dk1"/>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384" name="Google Shape;384;p7"/>
          <p:cNvSpPr/>
          <p:nvPr/>
        </p:nvSpPr>
        <p:spPr>
          <a:xfrm>
            <a:off x="352223" y="3407693"/>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User Experience &amp; Design</a:t>
            </a:r>
            <a:endParaRPr sz="900" b="1" i="0" u="none" strike="noStrike" cap="none">
              <a:solidFill>
                <a:schemeClr val="dk2"/>
              </a:solidFill>
              <a:latin typeface="Source Sans Pro Semibold"/>
              <a:ea typeface="Source Sans Pro Semibold"/>
              <a:cs typeface="Source Sans Pro Semibold"/>
              <a:sym typeface="Source Sans Pro SemiBold"/>
            </a:endParaRPr>
          </a:p>
        </p:txBody>
      </p:sp>
      <p:pic>
        <p:nvPicPr>
          <p:cNvPr id="385" name="Google Shape;385;p7"/>
          <p:cNvPicPr preferRelativeResize="0"/>
          <p:nvPr/>
        </p:nvPicPr>
        <p:blipFill rotWithShape="1">
          <a:blip r:embed="rId7">
            <a:alphaModFix/>
          </a:blip>
          <a:srcRect/>
          <a:stretch/>
        </p:blipFill>
        <p:spPr>
          <a:xfrm>
            <a:off x="432433" y="3882153"/>
            <a:ext cx="265176" cy="265176"/>
          </a:xfrm>
          <a:prstGeom prst="rect">
            <a:avLst/>
          </a:prstGeom>
          <a:noFill/>
          <a:ln>
            <a:noFill/>
          </a:ln>
        </p:spPr>
      </p:pic>
      <p:pic>
        <p:nvPicPr>
          <p:cNvPr id="386" name="Google Shape;386;p7"/>
          <p:cNvPicPr preferRelativeResize="0"/>
          <p:nvPr/>
        </p:nvPicPr>
        <p:blipFill rotWithShape="1">
          <a:blip r:embed="rId8">
            <a:alphaModFix/>
          </a:blip>
          <a:srcRect/>
          <a:stretch/>
        </p:blipFill>
        <p:spPr>
          <a:xfrm>
            <a:off x="432433" y="2625938"/>
            <a:ext cx="265176" cy="265176"/>
          </a:xfrm>
          <a:prstGeom prst="rect">
            <a:avLst/>
          </a:prstGeom>
          <a:noFill/>
          <a:ln>
            <a:noFill/>
          </a:ln>
        </p:spPr>
      </p:pic>
      <p:cxnSp>
        <p:nvCxnSpPr>
          <p:cNvPr id="389" name="Google Shape;389;p7"/>
          <p:cNvCxnSpPr/>
          <p:nvPr/>
        </p:nvCxnSpPr>
        <p:spPr>
          <a:xfrm>
            <a:off x="5577451" y="1745476"/>
            <a:ext cx="0" cy="4345725"/>
          </a:xfrm>
          <a:prstGeom prst="straightConnector1">
            <a:avLst/>
          </a:prstGeom>
          <a:noFill/>
          <a:ln w="9525" cap="flat" cmpd="sng">
            <a:solidFill>
              <a:srgbClr val="7F7F7F"/>
            </a:solidFill>
            <a:prstDash val="solid"/>
            <a:round/>
            <a:headEnd type="none" w="sm" len="sm"/>
            <a:tailEnd type="none" w="sm" len="sm"/>
          </a:ln>
        </p:spPr>
      </p:cxnSp>
      <p:cxnSp>
        <p:nvCxnSpPr>
          <p:cNvPr id="390" name="Google Shape;390;p7"/>
          <p:cNvCxnSpPr/>
          <p:nvPr/>
        </p:nvCxnSpPr>
        <p:spPr>
          <a:xfrm>
            <a:off x="260364" y="1745476"/>
            <a:ext cx="0" cy="4345725"/>
          </a:xfrm>
          <a:prstGeom prst="straightConnector1">
            <a:avLst/>
          </a:prstGeom>
          <a:noFill/>
          <a:ln w="9525" cap="flat" cmpd="sng">
            <a:solidFill>
              <a:srgbClr val="C7C7C7"/>
            </a:solidFill>
            <a:prstDash val="dot"/>
            <a:round/>
            <a:headEnd type="none" w="sm" len="sm"/>
            <a:tailEnd type="none" w="sm" len="sm"/>
          </a:ln>
        </p:spPr>
      </p:cxnSp>
      <p:cxnSp>
        <p:nvCxnSpPr>
          <p:cNvPr id="391" name="Google Shape;391;p7"/>
          <p:cNvCxnSpPr/>
          <p:nvPr/>
        </p:nvCxnSpPr>
        <p:spPr>
          <a:xfrm>
            <a:off x="1323782" y="1745476"/>
            <a:ext cx="0" cy="4345725"/>
          </a:xfrm>
          <a:prstGeom prst="straightConnector1">
            <a:avLst/>
          </a:prstGeom>
          <a:noFill/>
          <a:ln w="9525" cap="flat" cmpd="sng">
            <a:solidFill>
              <a:srgbClr val="7F7F7F"/>
            </a:solidFill>
            <a:prstDash val="solid"/>
            <a:round/>
            <a:headEnd type="none" w="sm" len="sm"/>
            <a:tailEnd type="none" w="sm" len="sm"/>
          </a:ln>
        </p:spPr>
      </p:cxnSp>
      <p:cxnSp>
        <p:nvCxnSpPr>
          <p:cNvPr id="392" name="Google Shape;392;p7"/>
          <p:cNvCxnSpPr/>
          <p:nvPr/>
        </p:nvCxnSpPr>
        <p:spPr>
          <a:xfrm>
            <a:off x="2387199" y="1745476"/>
            <a:ext cx="0" cy="4345725"/>
          </a:xfrm>
          <a:prstGeom prst="straightConnector1">
            <a:avLst/>
          </a:prstGeom>
          <a:noFill/>
          <a:ln w="9525" cap="flat" cmpd="sng">
            <a:solidFill>
              <a:srgbClr val="C7C7C7"/>
            </a:solidFill>
            <a:prstDash val="dot"/>
            <a:round/>
            <a:headEnd type="none" w="sm" len="sm"/>
            <a:tailEnd type="none" w="sm" len="sm"/>
          </a:ln>
        </p:spPr>
      </p:cxnSp>
      <p:cxnSp>
        <p:nvCxnSpPr>
          <p:cNvPr id="393" name="Google Shape;393;p7"/>
          <p:cNvCxnSpPr/>
          <p:nvPr/>
        </p:nvCxnSpPr>
        <p:spPr>
          <a:xfrm>
            <a:off x="3450616" y="1745476"/>
            <a:ext cx="0" cy="4345725"/>
          </a:xfrm>
          <a:prstGeom prst="straightConnector1">
            <a:avLst/>
          </a:prstGeom>
          <a:noFill/>
          <a:ln w="9525" cap="flat" cmpd="sng">
            <a:solidFill>
              <a:srgbClr val="7F7F7F"/>
            </a:solidFill>
            <a:prstDash val="solid"/>
            <a:round/>
            <a:headEnd type="none" w="sm" len="sm"/>
            <a:tailEnd type="none" w="sm" len="sm"/>
          </a:ln>
        </p:spPr>
      </p:cxnSp>
      <p:cxnSp>
        <p:nvCxnSpPr>
          <p:cNvPr id="394" name="Google Shape;394;p7"/>
          <p:cNvCxnSpPr/>
          <p:nvPr/>
        </p:nvCxnSpPr>
        <p:spPr>
          <a:xfrm>
            <a:off x="4514033" y="1745476"/>
            <a:ext cx="0" cy="4345725"/>
          </a:xfrm>
          <a:prstGeom prst="straightConnector1">
            <a:avLst/>
          </a:prstGeom>
          <a:noFill/>
          <a:ln w="9525" cap="flat" cmpd="sng">
            <a:solidFill>
              <a:srgbClr val="C7C7C7"/>
            </a:solidFill>
            <a:prstDash val="dot"/>
            <a:round/>
            <a:headEnd type="none" w="sm" len="sm"/>
            <a:tailEnd type="none" w="sm" len="sm"/>
          </a:ln>
        </p:spPr>
      </p:cxnSp>
      <p:cxnSp>
        <p:nvCxnSpPr>
          <p:cNvPr id="395" name="Google Shape;395;p7"/>
          <p:cNvCxnSpPr/>
          <p:nvPr/>
        </p:nvCxnSpPr>
        <p:spPr>
          <a:xfrm>
            <a:off x="6575439" y="1745476"/>
            <a:ext cx="0" cy="4345725"/>
          </a:xfrm>
          <a:prstGeom prst="straightConnector1">
            <a:avLst/>
          </a:prstGeom>
          <a:noFill/>
          <a:ln w="9525" cap="flat" cmpd="sng">
            <a:solidFill>
              <a:srgbClr val="C7C7C7"/>
            </a:solidFill>
            <a:prstDash val="dot"/>
            <a:round/>
            <a:headEnd type="none" w="sm" len="sm"/>
            <a:tailEnd type="none" w="sm" len="sm"/>
          </a:ln>
        </p:spPr>
      </p:cxnSp>
      <p:cxnSp>
        <p:nvCxnSpPr>
          <p:cNvPr id="396" name="Google Shape;396;p7"/>
          <p:cNvCxnSpPr/>
          <p:nvPr/>
        </p:nvCxnSpPr>
        <p:spPr>
          <a:xfrm>
            <a:off x="7538774" y="1757511"/>
            <a:ext cx="0" cy="4345725"/>
          </a:xfrm>
          <a:prstGeom prst="straightConnector1">
            <a:avLst/>
          </a:prstGeom>
          <a:noFill/>
          <a:ln w="9525" cap="flat" cmpd="sng">
            <a:solidFill>
              <a:srgbClr val="7F7F7F"/>
            </a:solidFill>
            <a:prstDash val="solid"/>
            <a:round/>
            <a:headEnd type="none" w="sm" len="sm"/>
            <a:tailEnd type="none" w="sm" len="sm"/>
          </a:ln>
        </p:spPr>
      </p:cxnSp>
      <p:cxnSp>
        <p:nvCxnSpPr>
          <p:cNvPr id="397" name="Google Shape;397;p7"/>
          <p:cNvCxnSpPr>
            <a:cxnSpLocks/>
          </p:cNvCxnSpPr>
          <p:nvPr/>
        </p:nvCxnSpPr>
        <p:spPr>
          <a:xfrm>
            <a:off x="417604" y="3358906"/>
            <a:ext cx="11080577" cy="0"/>
          </a:xfrm>
          <a:prstGeom prst="straightConnector1">
            <a:avLst/>
          </a:prstGeom>
          <a:noFill/>
          <a:ln w="9525" cap="flat" cmpd="sng">
            <a:solidFill>
              <a:srgbClr val="747C74"/>
            </a:solidFill>
            <a:prstDash val="solid"/>
            <a:round/>
            <a:headEnd type="none" w="sm" len="sm"/>
            <a:tailEnd type="none" w="sm" len="sm"/>
          </a:ln>
        </p:spPr>
      </p:cxnSp>
      <p:cxnSp>
        <p:nvCxnSpPr>
          <p:cNvPr id="398" name="Google Shape;398;p7"/>
          <p:cNvCxnSpPr>
            <a:cxnSpLocks/>
          </p:cNvCxnSpPr>
          <p:nvPr/>
        </p:nvCxnSpPr>
        <p:spPr>
          <a:xfrm>
            <a:off x="417606" y="4442627"/>
            <a:ext cx="11080575" cy="0"/>
          </a:xfrm>
          <a:prstGeom prst="straightConnector1">
            <a:avLst/>
          </a:prstGeom>
          <a:noFill/>
          <a:ln w="9525" cap="flat" cmpd="sng">
            <a:solidFill>
              <a:srgbClr val="747C74"/>
            </a:solidFill>
            <a:prstDash val="solid"/>
            <a:round/>
            <a:headEnd type="none" w="sm" len="sm"/>
            <a:tailEnd type="none" w="sm" len="sm"/>
          </a:ln>
        </p:spPr>
      </p:cxnSp>
      <p:sp>
        <p:nvSpPr>
          <p:cNvPr id="399" name="Google Shape;399;p7"/>
          <p:cNvSpPr/>
          <p:nvPr/>
        </p:nvSpPr>
        <p:spPr>
          <a:xfrm>
            <a:off x="1350947" y="2703276"/>
            <a:ext cx="1010245" cy="368035"/>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Prioritized backlog</a:t>
            </a:r>
            <a:endParaRPr sz="850" b="0" i="0" u="none" strike="noStrike" cap="none">
              <a:solidFill>
                <a:srgbClr val="000000"/>
              </a:solidFill>
              <a:latin typeface="Source Sans Pro"/>
              <a:ea typeface="Source Sans Pro"/>
              <a:cs typeface="Source Sans Pro"/>
              <a:sym typeface="Source Sans Pro"/>
            </a:endParaRPr>
          </a:p>
        </p:txBody>
      </p:sp>
      <p:sp>
        <p:nvSpPr>
          <p:cNvPr id="400" name="Google Shape;400;p7"/>
          <p:cNvSpPr/>
          <p:nvPr/>
        </p:nvSpPr>
        <p:spPr>
          <a:xfrm>
            <a:off x="2407598" y="2318781"/>
            <a:ext cx="3149459" cy="35918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Identify Change Management or Communications Plan</a:t>
            </a:r>
            <a:endParaRPr sz="850" b="0" i="0" u="none" strike="noStrike" cap="none">
              <a:solidFill>
                <a:srgbClr val="000000"/>
              </a:solidFill>
              <a:latin typeface="Source Sans Pro"/>
              <a:ea typeface="Source Sans Pro"/>
              <a:cs typeface="Source Sans Pro"/>
              <a:sym typeface="Source Sans Pro"/>
            </a:endParaRPr>
          </a:p>
        </p:txBody>
      </p:sp>
      <p:sp>
        <p:nvSpPr>
          <p:cNvPr id="401" name="Google Shape;401;p7"/>
          <p:cNvSpPr/>
          <p:nvPr/>
        </p:nvSpPr>
        <p:spPr>
          <a:xfrm>
            <a:off x="5595467" y="2318414"/>
            <a:ext cx="5888245" cy="35918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850">
                <a:solidFill>
                  <a:srgbClr val="FDFFFD"/>
                </a:solidFill>
                <a:latin typeface="Source Sans Pro"/>
                <a:ea typeface="Source Sans Pro"/>
                <a:cs typeface="Source Sans Pro"/>
                <a:sym typeface="Source Sans Pro"/>
              </a:rPr>
              <a:t>1095-B Handover </a:t>
            </a:r>
            <a:r>
              <a:rPr lang="en-US" sz="850" b="0" i="0" u="none" strike="noStrike" cap="none">
                <a:solidFill>
                  <a:srgbClr val="FDFFFD"/>
                </a:solidFill>
                <a:latin typeface="Source Sans Pro"/>
                <a:ea typeface="Source Sans Pro"/>
                <a:cs typeface="Source Sans Pro"/>
                <a:sym typeface="Source Sans Pro"/>
              </a:rPr>
              <a:t>plan</a:t>
            </a:r>
            <a:r>
              <a:rPr lang="en-US" sz="850">
                <a:solidFill>
                  <a:srgbClr val="FDFFFD"/>
                </a:solidFill>
                <a:latin typeface="Source Sans Pro"/>
                <a:ea typeface="Source Sans Pro"/>
                <a:cs typeface="Source Sans Pro"/>
                <a:sym typeface="Source Sans Pro"/>
              </a:rPr>
              <a:t> </a:t>
            </a:r>
            <a:r>
              <a:rPr lang="en-US" sz="850" b="0" i="0" u="none" strike="noStrike" cap="none">
                <a:solidFill>
                  <a:srgbClr val="FDFFFD"/>
                </a:solidFill>
                <a:latin typeface="Source Sans Pro"/>
                <a:ea typeface="Source Sans Pro"/>
                <a:cs typeface="Source Sans Pro"/>
                <a:sym typeface="Source Sans Pro"/>
              </a:rPr>
              <a:t> - Prepare for launch</a:t>
            </a:r>
            <a:endParaRPr lang="en-US" sz="850" b="0" i="0" u="none" strike="noStrike" cap="none">
              <a:solidFill>
                <a:srgbClr val="000000"/>
              </a:solidFill>
              <a:latin typeface="Source Sans Pro"/>
              <a:ea typeface="Source Sans Pro"/>
              <a:cs typeface="Source Sans Pro"/>
              <a:sym typeface="Source Sans Pro"/>
            </a:endParaRPr>
          </a:p>
        </p:txBody>
      </p:sp>
      <p:sp>
        <p:nvSpPr>
          <p:cNvPr id="404" name="Google Shape;404;p7"/>
          <p:cNvSpPr/>
          <p:nvPr/>
        </p:nvSpPr>
        <p:spPr>
          <a:xfrm>
            <a:off x="1348867" y="4837576"/>
            <a:ext cx="6154958" cy="381429"/>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Build solution (form UI, data connections, storage, etc.)</a:t>
            </a:r>
            <a:endParaRPr sz="850" b="0" i="0" u="none" strike="noStrike" cap="none">
              <a:solidFill>
                <a:schemeClr val="accent1"/>
              </a:solidFill>
              <a:latin typeface="Source Sans Pro"/>
              <a:ea typeface="Source Sans Pro"/>
              <a:cs typeface="Source Sans Pro"/>
              <a:sym typeface="Source Sans Pro"/>
            </a:endParaRPr>
          </a:p>
        </p:txBody>
      </p:sp>
      <p:sp>
        <p:nvSpPr>
          <p:cNvPr id="409" name="Google Shape;409;p7"/>
          <p:cNvSpPr/>
          <p:nvPr/>
        </p:nvSpPr>
        <p:spPr>
          <a:xfrm>
            <a:off x="2743282" y="3400677"/>
            <a:ext cx="686323" cy="43971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Testing prep &amp; recruiting</a:t>
            </a:r>
            <a:endParaRPr sz="850" b="0" i="0" u="none" strike="noStrike" cap="none">
              <a:solidFill>
                <a:srgbClr val="FDFFFD"/>
              </a:solidFill>
              <a:latin typeface="Source Sans Pro"/>
              <a:ea typeface="Source Sans Pro"/>
              <a:cs typeface="Source Sans Pro"/>
              <a:sym typeface="Source Sans Pro"/>
            </a:endParaRPr>
          </a:p>
        </p:txBody>
      </p:sp>
      <p:sp>
        <p:nvSpPr>
          <p:cNvPr id="410" name="Google Shape;410;p7"/>
          <p:cNvSpPr/>
          <p:nvPr/>
        </p:nvSpPr>
        <p:spPr>
          <a:xfrm>
            <a:off x="1348720" y="3850718"/>
            <a:ext cx="2084815" cy="26990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Design iterations</a:t>
            </a:r>
            <a:endParaRPr sz="850" b="0" i="0" u="none" strike="noStrike" cap="none">
              <a:solidFill>
                <a:srgbClr val="000000"/>
              </a:solidFill>
              <a:latin typeface="Source Sans Pro"/>
              <a:ea typeface="Source Sans Pro"/>
              <a:cs typeface="Source Sans Pro"/>
              <a:sym typeface="Source Sans Pro"/>
            </a:endParaRPr>
          </a:p>
        </p:txBody>
      </p:sp>
      <p:sp>
        <p:nvSpPr>
          <p:cNvPr id="413" name="Google Shape;413;p7"/>
          <p:cNvSpPr/>
          <p:nvPr/>
        </p:nvSpPr>
        <p:spPr>
          <a:xfrm>
            <a:off x="3477626" y="3844614"/>
            <a:ext cx="6044815" cy="286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a:buClr>
                <a:srgbClr val="FDFFFD"/>
              </a:buClr>
              <a:buSzPts val="900"/>
            </a:pPr>
            <a:r>
              <a:rPr lang="en-US" sz="850">
                <a:solidFill>
                  <a:srgbClr val="FDFFFD"/>
                </a:solidFill>
                <a:latin typeface="Source Sans Pro"/>
                <a:ea typeface="Source Sans Pro"/>
                <a:cs typeface="Source Sans Pro"/>
                <a:sym typeface="Source Sans Pro"/>
              </a:rPr>
              <a:t>1095-B Design</a:t>
            </a:r>
            <a:r>
              <a:rPr lang="en-US" sz="850" b="0" i="0" u="none" strike="noStrike" cap="none">
                <a:solidFill>
                  <a:srgbClr val="FDFFFD"/>
                </a:solidFill>
                <a:latin typeface="Source Sans Pro"/>
                <a:ea typeface="Source Sans Pro"/>
                <a:cs typeface="Source Sans Pro"/>
                <a:sym typeface="Source Sans Pro"/>
              </a:rPr>
              <a:t> iterations</a:t>
            </a:r>
          </a:p>
        </p:txBody>
      </p:sp>
      <p:sp>
        <p:nvSpPr>
          <p:cNvPr id="416" name="Google Shape;416;p7"/>
          <p:cNvSpPr txBox="1"/>
          <p:nvPr/>
        </p:nvSpPr>
        <p:spPr>
          <a:xfrm>
            <a:off x="11013374" y="5712424"/>
            <a:ext cx="1165127" cy="415498"/>
          </a:xfrm>
          <a:prstGeom prst="rect">
            <a:avLst/>
          </a:prstGeom>
          <a:noFill/>
          <a:ln>
            <a:noFill/>
          </a:ln>
        </p:spPr>
        <p:txBody>
          <a:bodyPr spcFirstLastPara="1" wrap="square" lIns="0" tIns="0" rIns="0" bIns="0" anchor="t" anchorCtr="0">
            <a:spAutoFit/>
          </a:bodyPr>
          <a:lstStyle/>
          <a:p>
            <a:pPr>
              <a:buClr>
                <a:srgbClr val="202120"/>
              </a:buClr>
              <a:buSzPts val="900"/>
            </a:pPr>
            <a:r>
              <a:rPr lang="en-US" sz="900" b="0" i="0" u="none" strike="noStrike" cap="none">
                <a:solidFill>
                  <a:srgbClr val="202120"/>
                </a:solidFill>
                <a:latin typeface="Source Sans Pro SemiBold"/>
                <a:ea typeface="Source Sans Pro SemiBold"/>
                <a:cs typeface="Source Sans Pro SemiBold"/>
                <a:sym typeface="Source Sans Pro SemiBold"/>
              </a:rPr>
              <a:t>MVP Launch Date Dependent on Legal Review</a:t>
            </a:r>
            <a:r>
              <a:rPr lang="en-US" sz="900">
                <a:solidFill>
                  <a:srgbClr val="202120"/>
                </a:solidFill>
                <a:latin typeface="Source Sans Pro SemiBold"/>
                <a:ea typeface="Source Sans Pro SemiBold"/>
                <a:cs typeface="Source Sans Pro SemiBold"/>
                <a:sym typeface="Source Sans Pro SemiBold"/>
              </a:rPr>
              <a:t> Completion</a:t>
            </a:r>
            <a:endParaRPr lang="en-US" sz="900" b="0" i="0" u="none" strike="noStrike" cap="none">
              <a:solidFill>
                <a:srgbClr val="202120"/>
              </a:solidFill>
              <a:latin typeface="Source Sans Pro SemiBold"/>
              <a:ea typeface="Source Sans Pro SemiBold"/>
              <a:cs typeface="Source Sans Pro SemiBold"/>
            </a:endParaRPr>
          </a:p>
        </p:txBody>
      </p:sp>
      <p:sp>
        <p:nvSpPr>
          <p:cNvPr id="417" name="Google Shape;417;p7"/>
          <p:cNvSpPr/>
          <p:nvPr/>
        </p:nvSpPr>
        <p:spPr>
          <a:xfrm>
            <a:off x="10928744" y="5466829"/>
            <a:ext cx="219456" cy="223548"/>
          </a:xfrm>
          <a:prstGeom prst="diamond">
            <a:avLst/>
          </a:prstGeom>
          <a:gradFill flip="none" rotWithShape="1">
            <a:gsLst>
              <a:gs pos="0">
                <a:schemeClr val="accent4">
                  <a:tint val="66000"/>
                  <a:satMod val="160000"/>
                </a:schemeClr>
              </a:gs>
              <a:gs pos="50000">
                <a:schemeClr val="accent4">
                  <a:tint val="44500"/>
                  <a:satMod val="160000"/>
                </a:schemeClr>
              </a:gs>
              <a:gs pos="100000">
                <a:schemeClr val="accent4">
                  <a:tint val="23500"/>
                  <a:satMod val="160000"/>
                </a:schemeClr>
              </a:gs>
            </a:gsLst>
            <a:lin ang="2700000" scaled="1"/>
            <a:tileRect/>
          </a:gra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cxnSp>
        <p:nvCxnSpPr>
          <p:cNvPr id="420" name="Google Shape;420;p7"/>
          <p:cNvCxnSpPr/>
          <p:nvPr/>
        </p:nvCxnSpPr>
        <p:spPr>
          <a:xfrm>
            <a:off x="1348720" y="1758481"/>
            <a:ext cx="2084815" cy="0"/>
          </a:xfrm>
          <a:prstGeom prst="straightConnector1">
            <a:avLst/>
          </a:prstGeom>
          <a:noFill/>
          <a:ln w="12700" cap="flat" cmpd="sng">
            <a:solidFill>
              <a:schemeClr val="dk1"/>
            </a:solidFill>
            <a:prstDash val="solid"/>
            <a:round/>
            <a:headEnd type="none" w="sm" len="sm"/>
            <a:tailEnd type="none" w="sm" len="sm"/>
          </a:ln>
        </p:spPr>
      </p:cxnSp>
      <p:cxnSp>
        <p:nvCxnSpPr>
          <p:cNvPr id="421" name="Google Shape;421;p7"/>
          <p:cNvCxnSpPr/>
          <p:nvPr/>
        </p:nvCxnSpPr>
        <p:spPr>
          <a:xfrm>
            <a:off x="3471626" y="1758481"/>
            <a:ext cx="2084815" cy="0"/>
          </a:xfrm>
          <a:prstGeom prst="straightConnector1">
            <a:avLst/>
          </a:prstGeom>
          <a:noFill/>
          <a:ln w="12700" cap="flat" cmpd="sng">
            <a:solidFill>
              <a:schemeClr val="dk1"/>
            </a:solidFill>
            <a:prstDash val="solid"/>
            <a:round/>
            <a:headEnd type="none" w="sm" len="sm"/>
            <a:tailEnd type="none" w="sm" len="sm"/>
          </a:ln>
        </p:spPr>
      </p:cxnSp>
      <p:cxnSp>
        <p:nvCxnSpPr>
          <p:cNvPr id="422" name="Google Shape;422;p7"/>
          <p:cNvCxnSpPr/>
          <p:nvPr/>
        </p:nvCxnSpPr>
        <p:spPr>
          <a:xfrm>
            <a:off x="5595468" y="1758481"/>
            <a:ext cx="1925293" cy="0"/>
          </a:xfrm>
          <a:prstGeom prst="straightConnector1">
            <a:avLst/>
          </a:prstGeom>
          <a:noFill/>
          <a:ln w="12700" cap="flat" cmpd="sng">
            <a:solidFill>
              <a:schemeClr val="dk1"/>
            </a:solidFill>
            <a:prstDash val="solid"/>
            <a:round/>
            <a:headEnd type="none" w="sm" len="sm"/>
            <a:tailEnd type="none" w="sm" len="sm"/>
          </a:ln>
        </p:spPr>
      </p:cxnSp>
      <p:pic>
        <p:nvPicPr>
          <p:cNvPr id="424" name="Google Shape;424;p7"/>
          <p:cNvPicPr preferRelativeResize="0"/>
          <p:nvPr/>
        </p:nvPicPr>
        <p:blipFill rotWithShape="1">
          <a:blip r:embed="rId9">
            <a:alphaModFix/>
          </a:blip>
          <a:srcRect/>
          <a:stretch/>
        </p:blipFill>
        <p:spPr>
          <a:xfrm>
            <a:off x="432433" y="4832132"/>
            <a:ext cx="265176" cy="265176"/>
          </a:xfrm>
          <a:prstGeom prst="rect">
            <a:avLst/>
          </a:prstGeom>
          <a:noFill/>
          <a:ln>
            <a:noFill/>
          </a:ln>
        </p:spPr>
      </p:pic>
      <p:cxnSp>
        <p:nvCxnSpPr>
          <p:cNvPr id="425" name="Google Shape;425;p7"/>
          <p:cNvCxnSpPr>
            <a:cxnSpLocks/>
          </p:cNvCxnSpPr>
          <p:nvPr/>
        </p:nvCxnSpPr>
        <p:spPr>
          <a:xfrm>
            <a:off x="432433" y="5219016"/>
            <a:ext cx="11065748" cy="0"/>
          </a:xfrm>
          <a:prstGeom prst="straightConnector1">
            <a:avLst/>
          </a:prstGeom>
          <a:noFill/>
          <a:ln w="9525" cap="flat" cmpd="sng">
            <a:solidFill>
              <a:srgbClr val="747C74"/>
            </a:solidFill>
            <a:prstDash val="solid"/>
            <a:round/>
            <a:headEnd type="none" w="sm" len="sm"/>
            <a:tailEnd type="none" w="sm" len="sm"/>
          </a:ln>
        </p:spPr>
      </p:cxnSp>
      <p:sp>
        <p:nvSpPr>
          <p:cNvPr id="426" name="Google Shape;426;p7"/>
          <p:cNvSpPr/>
          <p:nvPr/>
        </p:nvSpPr>
        <p:spPr>
          <a:xfrm>
            <a:off x="340765" y="5331382"/>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Collaboration Cycle</a:t>
            </a:r>
            <a:endParaRPr sz="900" b="1" i="0" u="none" strike="noStrike" cap="none">
              <a:solidFill>
                <a:schemeClr val="dk2"/>
              </a:solidFill>
              <a:latin typeface="Source Sans Pro Semibold"/>
              <a:ea typeface="Source Sans Pro Semibold"/>
              <a:cs typeface="Source Sans Pro Semibold"/>
              <a:sym typeface="Source Sans Pro SemiBold"/>
            </a:endParaRPr>
          </a:p>
        </p:txBody>
      </p:sp>
      <p:pic>
        <p:nvPicPr>
          <p:cNvPr id="427" name="Google Shape;427;p7"/>
          <p:cNvPicPr preferRelativeResize="0"/>
          <p:nvPr/>
        </p:nvPicPr>
        <p:blipFill rotWithShape="1">
          <a:blip r:embed="rId10">
            <a:alphaModFix/>
          </a:blip>
          <a:srcRect/>
          <a:stretch/>
        </p:blipFill>
        <p:spPr>
          <a:xfrm>
            <a:off x="432433" y="5656190"/>
            <a:ext cx="265176" cy="265176"/>
          </a:xfrm>
          <a:prstGeom prst="rect">
            <a:avLst/>
          </a:prstGeom>
          <a:noFill/>
          <a:ln>
            <a:noFill/>
          </a:ln>
        </p:spPr>
      </p:pic>
      <p:sp>
        <p:nvSpPr>
          <p:cNvPr id="430" name="Google Shape;430;p7"/>
          <p:cNvSpPr txBox="1"/>
          <p:nvPr/>
        </p:nvSpPr>
        <p:spPr>
          <a:xfrm>
            <a:off x="9248048" y="5577324"/>
            <a:ext cx="961271" cy="1384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Staging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31" name="Google Shape;431;p7"/>
          <p:cNvSpPr/>
          <p:nvPr/>
        </p:nvSpPr>
        <p:spPr>
          <a:xfrm>
            <a:off x="9528656" y="5313906"/>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32" name="Google Shape;432;p7"/>
          <p:cNvSpPr txBox="1"/>
          <p:nvPr/>
        </p:nvSpPr>
        <p:spPr>
          <a:xfrm>
            <a:off x="4950311"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a:solidFill>
                <a:srgbClr val="202120"/>
              </a:solidFill>
              <a:latin typeface="PT Serif"/>
              <a:ea typeface="PT Serif"/>
              <a:cs typeface="PT Serif"/>
              <a:sym typeface="PT Serif"/>
            </a:endParaRPr>
          </a:p>
        </p:txBody>
      </p:sp>
      <p:sp>
        <p:nvSpPr>
          <p:cNvPr id="433" name="Google Shape;433;p7"/>
          <p:cNvSpPr txBox="1"/>
          <p:nvPr/>
        </p:nvSpPr>
        <p:spPr>
          <a:xfrm>
            <a:off x="4950311"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a:solidFill>
                <a:srgbClr val="202120"/>
              </a:solidFill>
              <a:latin typeface="PT Serif"/>
              <a:ea typeface="PT Serif"/>
              <a:cs typeface="PT Serif"/>
              <a:sym typeface="PT Serif"/>
            </a:endParaRPr>
          </a:p>
        </p:txBody>
      </p:sp>
      <p:sp>
        <p:nvSpPr>
          <p:cNvPr id="436" name="Google Shape;436;p7"/>
          <p:cNvSpPr txBox="1"/>
          <p:nvPr/>
        </p:nvSpPr>
        <p:spPr>
          <a:xfrm>
            <a:off x="8501750" y="5886481"/>
            <a:ext cx="71644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Contact Center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37" name="Google Shape;437;p7"/>
          <p:cNvSpPr/>
          <p:nvPr/>
        </p:nvSpPr>
        <p:spPr>
          <a:xfrm>
            <a:off x="5171267" y="5291254"/>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0" name="Google Shape;440;p7"/>
          <p:cNvSpPr txBox="1"/>
          <p:nvPr/>
        </p:nvSpPr>
        <p:spPr>
          <a:xfrm>
            <a:off x="4329327" y="5341612"/>
            <a:ext cx="833806" cy="1384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Midpoint Review </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41" name="Google Shape;441;p7"/>
          <p:cNvSpPr/>
          <p:nvPr/>
        </p:nvSpPr>
        <p:spPr>
          <a:xfrm>
            <a:off x="9179356" y="5816797"/>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2" name="Google Shape;442;p7"/>
          <p:cNvSpPr txBox="1"/>
          <p:nvPr/>
        </p:nvSpPr>
        <p:spPr>
          <a:xfrm>
            <a:off x="2815891" y="5720822"/>
            <a:ext cx="871131" cy="41549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Research Plan Review #2 (wireframes)</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43" name="Google Shape;443;p7"/>
          <p:cNvSpPr/>
          <p:nvPr/>
        </p:nvSpPr>
        <p:spPr>
          <a:xfrm>
            <a:off x="3023230" y="5454145"/>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4" name="Google Shape;444;p7"/>
          <p:cNvSpPr txBox="1"/>
          <p:nvPr/>
        </p:nvSpPr>
        <p:spPr>
          <a:xfrm>
            <a:off x="5902060" y="5503806"/>
            <a:ext cx="79537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Privacy &amp; Security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45" name="Google Shape;445;p7"/>
          <p:cNvSpPr/>
          <p:nvPr/>
        </p:nvSpPr>
        <p:spPr>
          <a:xfrm>
            <a:off x="5647200" y="5496268"/>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6" name="Google Shape;446;p7"/>
          <p:cNvSpPr txBox="1"/>
          <p:nvPr/>
        </p:nvSpPr>
        <p:spPr>
          <a:xfrm>
            <a:off x="9971474" y="5588568"/>
            <a:ext cx="1084910"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Analytics Review</a:t>
            </a:r>
            <a:endParaRPr sz="900" b="0" i="0" u="none" strike="noStrike" cap="none">
              <a:solidFill>
                <a:srgbClr val="202120"/>
              </a:solidFill>
              <a:latin typeface="PT Serif"/>
              <a:ea typeface="PT Serif"/>
              <a:cs typeface="PT Serif"/>
              <a:sym typeface="PT Serif"/>
            </a:endParaRPr>
          </a:p>
        </p:txBody>
      </p:sp>
      <p:sp>
        <p:nvSpPr>
          <p:cNvPr id="447" name="Google Shape;447;p7"/>
          <p:cNvSpPr/>
          <p:nvPr/>
        </p:nvSpPr>
        <p:spPr>
          <a:xfrm>
            <a:off x="10295556" y="5288303"/>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53" name="Google Shape;453;p7"/>
          <p:cNvSpPr txBox="1"/>
          <p:nvPr/>
        </p:nvSpPr>
        <p:spPr>
          <a:xfrm>
            <a:off x="417604" y="6497384"/>
            <a:ext cx="6360593" cy="283154"/>
          </a:xfrm>
          <a:prstGeom prst="rect">
            <a:avLst/>
          </a:prstGeom>
          <a:noFill/>
          <a:ln>
            <a:noFill/>
          </a:ln>
        </p:spPr>
        <p:txBody>
          <a:bodyPr spcFirstLastPara="1" wrap="square" lIns="0" tIns="0" rIns="0" bIns="0" anchor="t" anchorCtr="0">
            <a:spAutoFit/>
          </a:bodyPr>
          <a:lstStyle/>
          <a:p>
            <a:pPr>
              <a:lnSpc>
                <a:spcPct val="115000"/>
              </a:lnSpc>
              <a:buClr>
                <a:srgbClr val="434343"/>
              </a:buClr>
              <a:buSzPts val="1800"/>
            </a:pPr>
            <a:r>
              <a:rPr lang="en-US" sz="800" b="0" i="0" u="none" strike="noStrike" cap="none">
                <a:solidFill>
                  <a:srgbClr val="434343"/>
                </a:solidFill>
                <a:latin typeface="PT Serif"/>
                <a:ea typeface="PT Serif"/>
                <a:cs typeface="PT Serif"/>
                <a:sym typeface="PT Serif"/>
              </a:rPr>
              <a:t>*Does not show post-MVP Validate phase meetings in Collaboration Cycle, such as Full Accessibility Audit and Post-Launch Check In</a:t>
            </a:r>
            <a:r>
              <a:rPr lang="en-US" sz="800">
                <a:solidFill>
                  <a:srgbClr val="434343"/>
                </a:solidFill>
                <a:latin typeface="PT Serif"/>
                <a:ea typeface="PT Serif"/>
                <a:cs typeface="PT Serif"/>
                <a:sym typeface="PT Serif"/>
              </a:rPr>
              <a:t>; Contact Center Review adjusted to 3 weeks before launch as approved by Jason Woodman</a:t>
            </a:r>
            <a:endParaRPr lang="en-US" sz="800" b="0" i="0" u="none" strike="noStrike" cap="none">
              <a:solidFill>
                <a:srgbClr val="434343"/>
              </a:solidFill>
              <a:latin typeface="PT Serif"/>
            </a:endParaRPr>
          </a:p>
        </p:txBody>
      </p:sp>
      <p:sp>
        <p:nvSpPr>
          <p:cNvPr id="454" name="Google Shape;454;p7"/>
          <p:cNvSpPr txBox="1"/>
          <p:nvPr/>
        </p:nvSpPr>
        <p:spPr>
          <a:xfrm>
            <a:off x="3806337" y="5897730"/>
            <a:ext cx="64236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Content &amp; IA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55" name="Google Shape;455;p7"/>
          <p:cNvSpPr/>
          <p:nvPr/>
        </p:nvSpPr>
        <p:spPr>
          <a:xfrm>
            <a:off x="3823160" y="5640718"/>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116" name="Google Shape;770;p22">
            <a:extLst>
              <a:ext uri="{FF2B5EF4-FFF2-40B4-BE49-F238E27FC236}">
                <a16:creationId xmlns:a16="http://schemas.microsoft.com/office/drawing/2014/main" id="{473E579E-3692-41BD-8D3D-A49F032BB7D1}"/>
              </a:ext>
            </a:extLst>
          </p:cNvPr>
          <p:cNvSpPr/>
          <p:nvPr/>
        </p:nvSpPr>
        <p:spPr>
          <a:xfrm>
            <a:off x="9516003" y="2717039"/>
            <a:ext cx="1947550" cy="287210"/>
          </a:xfrm>
          <a:prstGeom prst="rect">
            <a:avLst/>
          </a:prstGeom>
          <a:solidFill>
            <a:schemeClr val="accent1"/>
          </a:solidFill>
          <a:ln w="28575" cap="flat" cmpd="sng">
            <a:noFill/>
            <a:prstDash val="solid"/>
            <a:round/>
            <a:headEnd type="none" w="sm" len="sm"/>
            <a:tailEnd type="none" w="sm" len="sm"/>
          </a:ln>
        </p:spPr>
        <p:txBody>
          <a:bodyPr spcFirstLastPara="1" wrap="square" lIns="91425" tIns="60925" rIns="60950" bIns="60925" anchor="ctr" anchorCtr="0">
            <a:noAutofit/>
          </a:bodyPr>
          <a:lstStyle/>
          <a:p>
            <a:r>
              <a:rPr lang="en-US" sz="850">
                <a:solidFill>
                  <a:srgbClr val="FDFFFD"/>
                </a:solidFill>
                <a:latin typeface="Source Sans Pro"/>
                <a:ea typeface="Source Sans Pro"/>
                <a:sym typeface="Source Sans Pro"/>
              </a:rPr>
              <a:t>1095-B Legal Review</a:t>
            </a:r>
            <a:endParaRPr lang="en-US"/>
          </a:p>
        </p:txBody>
      </p:sp>
      <p:grpSp>
        <p:nvGrpSpPr>
          <p:cNvPr id="118" name="Google Shape;717;p22">
            <a:extLst>
              <a:ext uri="{FF2B5EF4-FFF2-40B4-BE49-F238E27FC236}">
                <a16:creationId xmlns:a16="http://schemas.microsoft.com/office/drawing/2014/main" id="{275CF833-F3B3-45B1-9DDC-1A138C1A7119}"/>
              </a:ext>
            </a:extLst>
          </p:cNvPr>
          <p:cNvGrpSpPr/>
          <p:nvPr/>
        </p:nvGrpSpPr>
        <p:grpSpPr>
          <a:xfrm>
            <a:off x="9039633" y="670431"/>
            <a:ext cx="2793358" cy="432163"/>
            <a:chOff x="8441380" y="969090"/>
            <a:chExt cx="2793358" cy="432163"/>
          </a:xfrm>
        </p:grpSpPr>
        <p:sp>
          <p:nvSpPr>
            <p:cNvPr id="122" name="Google Shape;718;p22">
              <a:extLst>
                <a:ext uri="{FF2B5EF4-FFF2-40B4-BE49-F238E27FC236}">
                  <a16:creationId xmlns:a16="http://schemas.microsoft.com/office/drawing/2014/main" id="{09CCFE8E-CA5C-4EA3-ADD4-17C6D9C20CBE}"/>
                </a:ext>
              </a:extLst>
            </p:cNvPr>
            <p:cNvSpPr/>
            <p:nvPr/>
          </p:nvSpPr>
          <p:spPr>
            <a:xfrm>
              <a:off x="10598367" y="975869"/>
              <a:ext cx="195608" cy="194198"/>
            </a:xfrm>
            <a:prstGeom prst="diamond">
              <a:avLst/>
            </a:prstGeom>
            <a:solidFill>
              <a:schemeClr val="accent4"/>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3" name="Google Shape;719;p22">
              <a:extLst>
                <a:ext uri="{FF2B5EF4-FFF2-40B4-BE49-F238E27FC236}">
                  <a16:creationId xmlns:a16="http://schemas.microsoft.com/office/drawing/2014/main" id="{395357FF-C494-4F5A-BC17-43D9D2B48AF7}"/>
                </a:ext>
              </a:extLst>
            </p:cNvPr>
            <p:cNvSpPr/>
            <p:nvPr/>
          </p:nvSpPr>
          <p:spPr>
            <a:xfrm>
              <a:off x="9441501" y="969519"/>
              <a:ext cx="195608" cy="19419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4" name="Google Shape;720;p22">
              <a:extLst>
                <a:ext uri="{FF2B5EF4-FFF2-40B4-BE49-F238E27FC236}">
                  <a16:creationId xmlns:a16="http://schemas.microsoft.com/office/drawing/2014/main" id="{3927D24C-3D9A-49E6-98C6-9726B7661B81}"/>
                </a:ext>
              </a:extLst>
            </p:cNvPr>
            <p:cNvSpPr/>
            <p:nvPr/>
          </p:nvSpPr>
          <p:spPr>
            <a:xfrm>
              <a:off x="8441380" y="969090"/>
              <a:ext cx="195608" cy="19419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5" name="Google Shape;721;p22">
              <a:extLst>
                <a:ext uri="{FF2B5EF4-FFF2-40B4-BE49-F238E27FC236}">
                  <a16:creationId xmlns:a16="http://schemas.microsoft.com/office/drawing/2014/main" id="{3E514B59-F9C8-4C76-973B-1F2C3AB2226B}"/>
                </a:ext>
              </a:extLst>
            </p:cNvPr>
            <p:cNvSpPr txBox="1"/>
            <p:nvPr/>
          </p:nvSpPr>
          <p:spPr>
            <a:xfrm>
              <a:off x="8665301" y="1040992"/>
              <a:ext cx="572133" cy="24622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Owned by design team</a:t>
              </a:r>
              <a:endParaRPr sz="800" b="0" i="0" u="none" strike="noStrike" cap="none">
                <a:solidFill>
                  <a:schemeClr val="dk2"/>
                </a:solidFill>
                <a:latin typeface="Source Sans Pro"/>
                <a:ea typeface="Source Sans Pro"/>
                <a:cs typeface="Source Sans Pro"/>
                <a:sym typeface="Source Sans Pro"/>
              </a:endParaRPr>
            </a:p>
          </p:txBody>
        </p:sp>
        <p:sp>
          <p:nvSpPr>
            <p:cNvPr id="126" name="Google Shape;722;p22">
              <a:extLst>
                <a:ext uri="{FF2B5EF4-FFF2-40B4-BE49-F238E27FC236}">
                  <a16:creationId xmlns:a16="http://schemas.microsoft.com/office/drawing/2014/main" id="{0F88BD2B-0FA8-43BF-8E8B-04E1C76E136B}"/>
                </a:ext>
              </a:extLst>
            </p:cNvPr>
            <p:cNvSpPr txBox="1"/>
            <p:nvPr/>
          </p:nvSpPr>
          <p:spPr>
            <a:xfrm>
              <a:off x="10855095" y="1038271"/>
              <a:ext cx="379643" cy="12311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Release</a:t>
              </a:r>
              <a:endParaRPr sz="800" b="0" i="0" u="none" strike="noStrike" cap="none">
                <a:solidFill>
                  <a:schemeClr val="dk2"/>
                </a:solidFill>
                <a:latin typeface="Source Sans Pro"/>
                <a:ea typeface="Source Sans Pro"/>
                <a:cs typeface="Source Sans Pro"/>
                <a:sym typeface="Source Sans Pro"/>
              </a:endParaRPr>
            </a:p>
          </p:txBody>
        </p:sp>
        <p:sp>
          <p:nvSpPr>
            <p:cNvPr id="127" name="Google Shape;723;p22">
              <a:extLst>
                <a:ext uri="{FF2B5EF4-FFF2-40B4-BE49-F238E27FC236}">
                  <a16:creationId xmlns:a16="http://schemas.microsoft.com/office/drawing/2014/main" id="{67FB492E-3E2B-42BF-A310-0CE6E5448A0B}"/>
                </a:ext>
              </a:extLst>
            </p:cNvPr>
            <p:cNvSpPr txBox="1"/>
            <p:nvPr/>
          </p:nvSpPr>
          <p:spPr>
            <a:xfrm>
              <a:off x="9730852" y="1031921"/>
              <a:ext cx="811443"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Owned by product/ engineering team</a:t>
              </a:r>
              <a:endParaRPr sz="800" b="0" i="0" u="none" strike="noStrike" cap="none">
                <a:solidFill>
                  <a:schemeClr val="dk2"/>
                </a:solidFill>
                <a:latin typeface="Source Sans Pro"/>
                <a:ea typeface="Source Sans Pro"/>
                <a:cs typeface="Source Sans Pro"/>
                <a:sym typeface="Source Sans Pro"/>
              </a:endParaRPr>
            </a:p>
          </p:txBody>
        </p:sp>
      </p:grpSp>
      <p:sp>
        <p:nvSpPr>
          <p:cNvPr id="117" name="Google Shape;362;p7">
            <a:extLst>
              <a:ext uri="{FF2B5EF4-FFF2-40B4-BE49-F238E27FC236}">
                <a16:creationId xmlns:a16="http://schemas.microsoft.com/office/drawing/2014/main" id="{E2FD5C6C-CA12-4E89-9D17-227059EEB7D4}"/>
              </a:ext>
            </a:extLst>
          </p:cNvPr>
          <p:cNvSpPr txBox="1"/>
          <p:nvPr/>
        </p:nvSpPr>
        <p:spPr>
          <a:xfrm>
            <a:off x="8743568" y="1820991"/>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1: 3/30 – 04/06</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19" name="Google Shape;395;p7">
            <a:extLst>
              <a:ext uri="{FF2B5EF4-FFF2-40B4-BE49-F238E27FC236}">
                <a16:creationId xmlns:a16="http://schemas.microsoft.com/office/drawing/2014/main" id="{BE5967B3-C8EE-4DCD-9A67-1ED6C8099880}"/>
              </a:ext>
            </a:extLst>
          </p:cNvPr>
          <p:cNvCxnSpPr/>
          <p:nvPr/>
        </p:nvCxnSpPr>
        <p:spPr>
          <a:xfrm>
            <a:off x="8558813" y="1742197"/>
            <a:ext cx="0" cy="4345725"/>
          </a:xfrm>
          <a:prstGeom prst="straightConnector1">
            <a:avLst/>
          </a:prstGeom>
          <a:noFill/>
          <a:ln w="9525" cap="flat" cmpd="sng">
            <a:solidFill>
              <a:srgbClr val="C7C7C7"/>
            </a:solidFill>
            <a:prstDash val="dot"/>
            <a:round/>
            <a:headEnd type="none" w="sm" len="sm"/>
            <a:tailEnd type="none" w="sm" len="sm"/>
          </a:ln>
        </p:spPr>
      </p:cxnSp>
      <p:cxnSp>
        <p:nvCxnSpPr>
          <p:cNvPr id="120" name="Google Shape;422;p7">
            <a:extLst>
              <a:ext uri="{FF2B5EF4-FFF2-40B4-BE49-F238E27FC236}">
                <a16:creationId xmlns:a16="http://schemas.microsoft.com/office/drawing/2014/main" id="{55FA9FF7-4455-4B47-9023-FF6BDA918F8C}"/>
              </a:ext>
            </a:extLst>
          </p:cNvPr>
          <p:cNvCxnSpPr/>
          <p:nvPr/>
        </p:nvCxnSpPr>
        <p:spPr>
          <a:xfrm>
            <a:off x="7587607" y="1755202"/>
            <a:ext cx="1925293" cy="0"/>
          </a:xfrm>
          <a:prstGeom prst="straightConnector1">
            <a:avLst/>
          </a:prstGeom>
          <a:noFill/>
          <a:ln w="12700" cap="flat" cmpd="sng">
            <a:solidFill>
              <a:schemeClr val="dk1"/>
            </a:solidFill>
            <a:prstDash val="solid"/>
            <a:round/>
            <a:headEnd type="none" w="sm" len="sm"/>
            <a:tailEnd type="none" w="sm" len="sm"/>
          </a:ln>
        </p:spPr>
      </p:cxnSp>
      <p:cxnSp>
        <p:nvCxnSpPr>
          <p:cNvPr id="121" name="Google Shape;396;p7">
            <a:extLst>
              <a:ext uri="{FF2B5EF4-FFF2-40B4-BE49-F238E27FC236}">
                <a16:creationId xmlns:a16="http://schemas.microsoft.com/office/drawing/2014/main" id="{97E780CD-675F-4964-B3D4-48E0D2AE9F84}"/>
              </a:ext>
            </a:extLst>
          </p:cNvPr>
          <p:cNvCxnSpPr/>
          <p:nvPr/>
        </p:nvCxnSpPr>
        <p:spPr>
          <a:xfrm>
            <a:off x="9518603" y="1764969"/>
            <a:ext cx="0" cy="4345725"/>
          </a:xfrm>
          <a:prstGeom prst="straightConnector1">
            <a:avLst/>
          </a:prstGeom>
          <a:noFill/>
          <a:ln w="9525" cap="flat" cmpd="sng">
            <a:solidFill>
              <a:srgbClr val="7F7F7F"/>
            </a:solidFill>
            <a:prstDash val="solid"/>
            <a:round/>
            <a:headEnd type="none" w="sm" len="sm"/>
            <a:tailEnd type="none" w="sm" len="sm"/>
          </a:ln>
        </p:spPr>
      </p:cxnSp>
      <p:sp>
        <p:nvSpPr>
          <p:cNvPr id="128" name="Google Shape;369;p7">
            <a:extLst>
              <a:ext uri="{FF2B5EF4-FFF2-40B4-BE49-F238E27FC236}">
                <a16:creationId xmlns:a16="http://schemas.microsoft.com/office/drawing/2014/main" id="{C61FD168-ED42-4403-BA38-E257254F57EF}"/>
              </a:ext>
            </a:extLst>
          </p:cNvPr>
          <p:cNvSpPr txBox="1"/>
          <p:nvPr/>
        </p:nvSpPr>
        <p:spPr>
          <a:xfrm>
            <a:off x="9574092" y="1804119"/>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2: 04/06-04/13</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129" name="Google Shape;370;p7">
            <a:extLst>
              <a:ext uri="{FF2B5EF4-FFF2-40B4-BE49-F238E27FC236}">
                <a16:creationId xmlns:a16="http://schemas.microsoft.com/office/drawing/2014/main" id="{679DDD97-7B33-4561-9F37-C9E486FFDBAF}"/>
              </a:ext>
            </a:extLst>
          </p:cNvPr>
          <p:cNvSpPr txBox="1"/>
          <p:nvPr/>
        </p:nvSpPr>
        <p:spPr>
          <a:xfrm>
            <a:off x="9539554" y="1552197"/>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6</a:t>
            </a:r>
            <a:endParaRPr/>
          </a:p>
        </p:txBody>
      </p:sp>
      <p:cxnSp>
        <p:nvCxnSpPr>
          <p:cNvPr id="131" name="Google Shape;396;p7">
            <a:extLst>
              <a:ext uri="{FF2B5EF4-FFF2-40B4-BE49-F238E27FC236}">
                <a16:creationId xmlns:a16="http://schemas.microsoft.com/office/drawing/2014/main" id="{CA95AD8E-ED34-4D5B-96B5-8760CBB199C6}"/>
              </a:ext>
            </a:extLst>
          </p:cNvPr>
          <p:cNvCxnSpPr/>
          <p:nvPr/>
        </p:nvCxnSpPr>
        <p:spPr>
          <a:xfrm>
            <a:off x="9518352" y="1738705"/>
            <a:ext cx="0" cy="4345725"/>
          </a:xfrm>
          <a:prstGeom prst="straightConnector1">
            <a:avLst/>
          </a:prstGeom>
          <a:noFill/>
          <a:ln w="9525" cap="flat" cmpd="sng">
            <a:solidFill>
              <a:srgbClr val="7F7F7F"/>
            </a:solidFill>
            <a:prstDash val="solid"/>
            <a:round/>
            <a:headEnd type="none" w="sm" len="sm"/>
            <a:tailEnd type="none" w="sm" len="sm"/>
          </a:ln>
        </p:spPr>
      </p:cxnSp>
      <p:cxnSp>
        <p:nvCxnSpPr>
          <p:cNvPr id="135" name="Google Shape;423;p7">
            <a:extLst>
              <a:ext uri="{FF2B5EF4-FFF2-40B4-BE49-F238E27FC236}">
                <a16:creationId xmlns:a16="http://schemas.microsoft.com/office/drawing/2014/main" id="{07D150B9-41C8-4CFF-ACA8-4BE69CAF1760}"/>
              </a:ext>
            </a:extLst>
          </p:cNvPr>
          <p:cNvCxnSpPr>
            <a:cxnSpLocks/>
          </p:cNvCxnSpPr>
          <p:nvPr/>
        </p:nvCxnSpPr>
        <p:spPr>
          <a:xfrm flipV="1">
            <a:off x="9539554" y="1748592"/>
            <a:ext cx="1935415" cy="970"/>
          </a:xfrm>
          <a:prstGeom prst="straightConnector1">
            <a:avLst/>
          </a:prstGeom>
          <a:noFill/>
          <a:ln w="12700" cap="flat" cmpd="sng">
            <a:solidFill>
              <a:schemeClr val="dk1"/>
            </a:solidFill>
            <a:prstDash val="solid"/>
            <a:round/>
            <a:headEnd type="none" w="sm" len="sm"/>
            <a:tailEnd type="none" w="sm" len="sm"/>
          </a:ln>
        </p:spPr>
      </p:cxnSp>
      <p:sp>
        <p:nvSpPr>
          <p:cNvPr id="137" name="Google Shape;362;p7">
            <a:extLst>
              <a:ext uri="{FF2B5EF4-FFF2-40B4-BE49-F238E27FC236}">
                <a16:creationId xmlns:a16="http://schemas.microsoft.com/office/drawing/2014/main" id="{1301D16D-0233-425B-8533-705B8AA7A3FB}"/>
              </a:ext>
            </a:extLst>
          </p:cNvPr>
          <p:cNvSpPr txBox="1"/>
          <p:nvPr/>
        </p:nvSpPr>
        <p:spPr>
          <a:xfrm>
            <a:off x="10734826" y="1802210"/>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3: 04/13-04/20</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38" name="Google Shape;395;p7">
            <a:extLst>
              <a:ext uri="{FF2B5EF4-FFF2-40B4-BE49-F238E27FC236}">
                <a16:creationId xmlns:a16="http://schemas.microsoft.com/office/drawing/2014/main" id="{72CD5195-4FCE-4FC8-B037-A7E561D0D2AA}"/>
              </a:ext>
            </a:extLst>
          </p:cNvPr>
          <p:cNvCxnSpPr/>
          <p:nvPr/>
        </p:nvCxnSpPr>
        <p:spPr>
          <a:xfrm>
            <a:off x="10384902" y="1719343"/>
            <a:ext cx="0" cy="4345725"/>
          </a:xfrm>
          <a:prstGeom prst="straightConnector1">
            <a:avLst/>
          </a:prstGeom>
          <a:noFill/>
          <a:ln w="9525" cap="flat" cmpd="sng">
            <a:solidFill>
              <a:srgbClr val="C7C7C7"/>
            </a:solidFill>
            <a:prstDash val="dot"/>
            <a:round/>
            <a:headEnd type="none" w="sm" len="sm"/>
            <a:tailEnd type="none" w="sm" len="sm"/>
          </a:ln>
        </p:spPr>
      </p:cxnSp>
      <p:sp>
        <p:nvSpPr>
          <p:cNvPr id="94" name="Google Shape;695;p20">
            <a:extLst>
              <a:ext uri="{FF2B5EF4-FFF2-40B4-BE49-F238E27FC236}">
                <a16:creationId xmlns:a16="http://schemas.microsoft.com/office/drawing/2014/main" id="{E31314A6-B11D-4476-9803-2FB49A1BD625}"/>
              </a:ext>
            </a:extLst>
          </p:cNvPr>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buClr>
                <a:srgbClr val="747C74"/>
              </a:buClr>
              <a:buSzPts val="1200"/>
            </a:pPr>
            <a:r>
              <a:rPr lang="en-US" sz="1200">
                <a:solidFill>
                  <a:srgbClr val="747C74"/>
                </a:solidFill>
                <a:latin typeface="Source Sans Pro"/>
                <a:ea typeface="Source Sans Pro"/>
                <a:cs typeface="Source Sans Pro"/>
                <a:sym typeface="Source Sans Pro"/>
              </a:rPr>
              <a:t>Preview of Sprint 6</a:t>
            </a:r>
            <a:endParaRPr sz="1800">
              <a:solidFill>
                <a:schemeClr val="dk1"/>
              </a:solidFill>
              <a:latin typeface="Calibri"/>
              <a:ea typeface="Calibri"/>
              <a:cs typeface="Calibri"/>
              <a:sym typeface="Calibri"/>
            </a:endParaRPr>
          </a:p>
        </p:txBody>
      </p:sp>
      <p:grpSp>
        <p:nvGrpSpPr>
          <p:cNvPr id="3" name="Google Shape;448;p7">
            <a:extLst>
              <a:ext uri="{FF2B5EF4-FFF2-40B4-BE49-F238E27FC236}">
                <a16:creationId xmlns:a16="http://schemas.microsoft.com/office/drawing/2014/main" id="{04B4B9EF-39BF-81F3-070D-703E1C6BC8C8}"/>
              </a:ext>
            </a:extLst>
          </p:cNvPr>
          <p:cNvGrpSpPr/>
          <p:nvPr/>
        </p:nvGrpSpPr>
        <p:grpSpPr>
          <a:xfrm>
            <a:off x="8867761" y="1106764"/>
            <a:ext cx="1301794" cy="5080376"/>
            <a:chOff x="7066559" y="1368394"/>
            <a:chExt cx="1365250" cy="5282673"/>
          </a:xfrm>
        </p:grpSpPr>
        <p:cxnSp>
          <p:nvCxnSpPr>
            <p:cNvPr id="96" name="Google Shape;449;p7">
              <a:extLst>
                <a:ext uri="{FF2B5EF4-FFF2-40B4-BE49-F238E27FC236}">
                  <a16:creationId xmlns:a16="http://schemas.microsoft.com/office/drawing/2014/main" id="{448CA91B-8DA9-1C1C-AA1D-6DFE020531CC}"/>
                </a:ext>
              </a:extLst>
            </p:cNvPr>
            <p:cNvCxnSpPr/>
            <p:nvPr/>
          </p:nvCxnSpPr>
          <p:spPr>
            <a:xfrm>
              <a:off x="7743145" y="1775857"/>
              <a:ext cx="2173" cy="4875210"/>
            </a:xfrm>
            <a:prstGeom prst="straightConnector1">
              <a:avLst/>
            </a:prstGeom>
            <a:noFill/>
            <a:ln w="12700" cap="flat" cmpd="sng">
              <a:solidFill>
                <a:srgbClr val="A1AEBF"/>
              </a:solidFill>
              <a:prstDash val="solid"/>
              <a:round/>
              <a:headEnd type="none" w="sm" len="sm"/>
              <a:tailEnd type="none" w="sm" len="sm"/>
            </a:ln>
          </p:spPr>
        </p:cxnSp>
        <p:grpSp>
          <p:nvGrpSpPr>
            <p:cNvPr id="97" name="Google Shape;450;p7">
              <a:extLst>
                <a:ext uri="{FF2B5EF4-FFF2-40B4-BE49-F238E27FC236}">
                  <a16:creationId xmlns:a16="http://schemas.microsoft.com/office/drawing/2014/main" id="{D9C2C79E-3DA2-A547-A6C1-A2A48BA151D4}"/>
                </a:ext>
              </a:extLst>
            </p:cNvPr>
            <p:cNvGrpSpPr/>
            <p:nvPr/>
          </p:nvGrpSpPr>
          <p:grpSpPr>
            <a:xfrm>
              <a:off x="7066559" y="1368394"/>
              <a:ext cx="1365250" cy="428190"/>
              <a:chOff x="7187209" y="1400144"/>
              <a:chExt cx="1365250" cy="428190"/>
            </a:xfrm>
          </p:grpSpPr>
          <p:sp>
            <p:nvSpPr>
              <p:cNvPr id="98" name="Google Shape;451;p7">
                <a:extLst>
                  <a:ext uri="{FF2B5EF4-FFF2-40B4-BE49-F238E27FC236}">
                    <a16:creationId xmlns:a16="http://schemas.microsoft.com/office/drawing/2014/main" id="{3A23AAE2-4269-C3E7-E699-BA0249A4E5CE}"/>
                  </a:ext>
                </a:extLst>
              </p:cNvPr>
              <p:cNvSpPr/>
              <p:nvPr/>
            </p:nvSpPr>
            <p:spPr>
              <a:xfrm>
                <a:off x="7187209" y="1400144"/>
                <a:ext cx="1365250" cy="344167"/>
              </a:xfrm>
              <a:prstGeom prst="roundRect">
                <a:avLst>
                  <a:gd name="adj" fmla="val 16667"/>
                </a:avLst>
              </a:prstGeom>
              <a:solidFill>
                <a:srgbClr val="D3E9FF"/>
              </a:solidFill>
              <a:ln>
                <a:noFill/>
              </a:ln>
            </p:spPr>
            <p:txBody>
              <a:bodyPr spcFirstLastPara="1" wrap="square" lIns="91425" tIns="73150" rIns="91425" bIns="45700" anchor="ctr" anchorCtr="0">
                <a:noAutofit/>
              </a:bodyPr>
              <a:lstStyle/>
              <a:p>
                <a:pPr marL="0" marR="0" lvl="0" indent="0" algn="ctr" rtl="0">
                  <a:lnSpc>
                    <a:spcPct val="100000"/>
                  </a:lnSpc>
                  <a:spcBef>
                    <a:spcPts val="0"/>
                  </a:spcBef>
                  <a:spcAft>
                    <a:spcPts val="0"/>
                  </a:spcAft>
                  <a:buClr>
                    <a:schemeClr val="accent1"/>
                  </a:buClr>
                  <a:buSzPts val="1200"/>
                  <a:buFont typeface="Source Sans Pro SemiBold"/>
                  <a:buNone/>
                </a:pPr>
                <a:r>
                  <a:rPr lang="en-US" sz="1200" b="1" i="0" u="none" strike="noStrike" cap="none">
                    <a:solidFill>
                      <a:schemeClr val="accent1"/>
                    </a:solidFill>
                    <a:latin typeface="Source Sans Pro Semibold"/>
                    <a:ea typeface="Source Sans Pro Semibold"/>
                    <a:cs typeface="Source Sans Pro Semibold"/>
                    <a:sym typeface="Source Sans Pro SemiBold"/>
                  </a:rPr>
                  <a:t>WE ARE HERE</a:t>
                </a:r>
                <a:endParaRPr sz="1200" b="1" i="0" u="none" strike="noStrike" cap="none">
                  <a:solidFill>
                    <a:schemeClr val="accent1"/>
                  </a:solidFill>
                  <a:latin typeface="Source Sans Pro Semibold"/>
                  <a:ea typeface="Source Sans Pro Semibold"/>
                  <a:cs typeface="Source Sans Pro Semibold"/>
                  <a:sym typeface="Source Sans Pro SemiBold"/>
                </a:endParaRPr>
              </a:p>
            </p:txBody>
          </p:sp>
          <p:sp>
            <p:nvSpPr>
              <p:cNvPr id="99" name="Google Shape;452;p7">
                <a:extLst>
                  <a:ext uri="{FF2B5EF4-FFF2-40B4-BE49-F238E27FC236}">
                    <a16:creationId xmlns:a16="http://schemas.microsoft.com/office/drawing/2014/main" id="{E30D416F-7947-2763-0E54-B1F9E0F67A72}"/>
                  </a:ext>
                </a:extLst>
              </p:cNvPr>
              <p:cNvSpPr/>
              <p:nvPr/>
            </p:nvSpPr>
            <p:spPr>
              <a:xfrm rot="10800000">
                <a:off x="7773027" y="1745784"/>
                <a:ext cx="171449" cy="82550"/>
              </a:xfrm>
              <a:prstGeom prst="triangle">
                <a:avLst>
                  <a:gd name="adj" fmla="val 50000"/>
                </a:avLst>
              </a:prstGeom>
              <a:solidFill>
                <a:srgbClr val="D3E9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grpSp>
      </p:grpSp>
      <p:sp>
        <p:nvSpPr>
          <p:cNvPr id="101" name="Google Shape;770;p22">
            <a:extLst>
              <a:ext uri="{FF2B5EF4-FFF2-40B4-BE49-F238E27FC236}">
                <a16:creationId xmlns:a16="http://schemas.microsoft.com/office/drawing/2014/main" id="{C490854A-3705-D3C2-CB0B-CA528B8E7892}"/>
              </a:ext>
            </a:extLst>
          </p:cNvPr>
          <p:cNvSpPr/>
          <p:nvPr/>
        </p:nvSpPr>
        <p:spPr>
          <a:xfrm>
            <a:off x="7538774" y="3050061"/>
            <a:ext cx="3933895" cy="275176"/>
          </a:xfrm>
          <a:prstGeom prst="rect">
            <a:avLst/>
          </a:prstGeom>
          <a:solidFill>
            <a:schemeClr val="accent1"/>
          </a:solidFill>
          <a:ln w="28575" cap="flat" cmpd="sng">
            <a:noFill/>
            <a:prstDash val="solid"/>
            <a:round/>
            <a:headEnd type="none" w="sm" len="sm"/>
            <a:tailEnd type="none" w="sm" len="sm"/>
          </a:ln>
        </p:spPr>
        <p:txBody>
          <a:bodyPr spcFirstLastPara="1" wrap="square" lIns="91425" tIns="60925" rIns="60950" bIns="60925" anchor="ctr" anchorCtr="0">
            <a:noAutofit/>
          </a:bodyPr>
          <a:lstStyle/>
          <a:p>
            <a:r>
              <a:rPr lang="en-US" sz="850">
                <a:solidFill>
                  <a:srgbClr val="FDFFFD"/>
                </a:solidFill>
                <a:latin typeface="Source Sans Pro"/>
                <a:ea typeface="Source Sans Pro"/>
                <a:sym typeface="Source Sans Pro"/>
              </a:rPr>
              <a:t>CC Discovery + Value + Viability</a:t>
            </a:r>
            <a:endParaRPr lang="en-US"/>
          </a:p>
        </p:txBody>
      </p:sp>
      <p:sp>
        <p:nvSpPr>
          <p:cNvPr id="102" name="Google Shape;413;p7">
            <a:extLst>
              <a:ext uri="{FF2B5EF4-FFF2-40B4-BE49-F238E27FC236}">
                <a16:creationId xmlns:a16="http://schemas.microsoft.com/office/drawing/2014/main" id="{1A6A5D54-4780-E7F1-2C5A-B261190E065C}"/>
              </a:ext>
            </a:extLst>
          </p:cNvPr>
          <p:cNvSpPr/>
          <p:nvPr/>
        </p:nvSpPr>
        <p:spPr>
          <a:xfrm>
            <a:off x="7525061" y="3424962"/>
            <a:ext cx="3957597" cy="324842"/>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rgbClr val="FDFFFD"/>
                </a:solidFill>
                <a:latin typeface="Source Sans Pro"/>
                <a:ea typeface="Source Sans Pro"/>
                <a:sym typeface="Source Sans Pro"/>
              </a:rPr>
              <a:t>  CC Current User Journey Discovery + Journey Mapping</a:t>
            </a:r>
            <a:endParaRPr lang="en-US"/>
          </a:p>
        </p:txBody>
      </p:sp>
      <p:sp>
        <p:nvSpPr>
          <p:cNvPr id="103" name="Google Shape;372;p7">
            <a:extLst>
              <a:ext uri="{FF2B5EF4-FFF2-40B4-BE49-F238E27FC236}">
                <a16:creationId xmlns:a16="http://schemas.microsoft.com/office/drawing/2014/main" id="{B04D06FE-476F-DCF7-C3DF-A504A11C4BB5}"/>
              </a:ext>
            </a:extLst>
          </p:cNvPr>
          <p:cNvSpPr/>
          <p:nvPr/>
        </p:nvSpPr>
        <p:spPr>
          <a:xfrm>
            <a:off x="9333329" y="4477158"/>
            <a:ext cx="2136402" cy="347659"/>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chemeClr val="accent1"/>
                </a:solidFill>
                <a:latin typeface="Source Sans Pro"/>
                <a:ea typeface="Source Sans Pro"/>
                <a:sym typeface="Source Sans Pro"/>
              </a:rPr>
              <a:t>CC Tech Discovery + Current Data &amp; API Integrations </a:t>
            </a:r>
            <a:endParaRPr lang="en-US">
              <a:solidFill>
                <a:schemeClr val="accent1"/>
              </a:solidFill>
            </a:endParaRPr>
          </a:p>
        </p:txBody>
      </p:sp>
      <p:sp>
        <p:nvSpPr>
          <p:cNvPr id="100" name="Google Shape;436;p7">
            <a:extLst>
              <a:ext uri="{FF2B5EF4-FFF2-40B4-BE49-F238E27FC236}">
                <a16:creationId xmlns:a16="http://schemas.microsoft.com/office/drawing/2014/main" id="{5947DC3C-0898-F15B-1FFF-22C2270AF5A5}"/>
              </a:ext>
            </a:extLst>
          </p:cNvPr>
          <p:cNvSpPr txBox="1"/>
          <p:nvPr/>
        </p:nvSpPr>
        <p:spPr>
          <a:xfrm>
            <a:off x="9824466" y="4890848"/>
            <a:ext cx="1119013" cy="276999"/>
          </a:xfrm>
          <a:prstGeom prst="rect">
            <a:avLst/>
          </a:prstGeom>
          <a:noFill/>
          <a:ln>
            <a:noFill/>
          </a:ln>
        </p:spPr>
        <p:txBody>
          <a:bodyPr spcFirstLastPara="1" wrap="square" lIns="0" tIns="0" rIns="0" bIns="0" anchor="t" anchorCtr="0">
            <a:spAutoFit/>
          </a:bodyPr>
          <a:lstStyle/>
          <a:p>
            <a:r>
              <a:rPr lang="en-US" sz="900">
                <a:solidFill>
                  <a:srgbClr val="202120"/>
                </a:solidFill>
                <a:latin typeface="Source Sans Pro SemiBold"/>
                <a:ea typeface="Source Sans Pro SemiBold"/>
                <a:sym typeface="Source Sans Pro SemiBold"/>
              </a:rPr>
              <a:t>Tech Lead: Shashank Khandelwal</a:t>
            </a:r>
            <a:endParaRPr lang="en-US"/>
          </a:p>
        </p:txBody>
      </p:sp>
      <p:sp>
        <p:nvSpPr>
          <p:cNvPr id="104" name="Google Shape;431;p7">
            <a:extLst>
              <a:ext uri="{FF2B5EF4-FFF2-40B4-BE49-F238E27FC236}">
                <a16:creationId xmlns:a16="http://schemas.microsoft.com/office/drawing/2014/main" id="{101460AC-09E4-C2F8-07D6-6ADD36E67708}"/>
              </a:ext>
            </a:extLst>
          </p:cNvPr>
          <p:cNvSpPr/>
          <p:nvPr/>
        </p:nvSpPr>
        <p:spPr>
          <a:xfrm>
            <a:off x="9575382" y="4914934"/>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Tree>
    <p:extLst>
      <p:ext uri="{BB962C8B-B14F-4D97-AF65-F5344CB8AC3E}">
        <p14:creationId xmlns:p14="http://schemas.microsoft.com/office/powerpoint/2010/main" val="24867215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6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E7A1E5-B23E-48F6-B40F-A8EC6017F6F3}"/>
              </a:ext>
            </a:extLst>
          </p:cNvPr>
          <p:cNvGraphicFramePr>
            <a:graphicFrameLocks noChangeAspect="1"/>
          </p:cNvGraphicFramePr>
          <p:nvPr>
            <p:custDataLst>
              <p:tags r:id="rId2"/>
            </p:custDataLst>
            <p:extLst>
              <p:ext uri="{D42A27DB-BD31-4B8C-83A1-F6EECF244321}">
                <p14:modId xmlns:p14="http://schemas.microsoft.com/office/powerpoint/2010/main" val="375250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9"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AAE7A1E5-B23E-48F6-B40F-A8EC6017F6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67" name="Google Shape;467;p9"/>
          <p:cNvSpPr txBox="1">
            <a:spLocks noGrp="1"/>
          </p:cNvSpPr>
          <p:nvPr>
            <p:ph type="title"/>
          </p:nvPr>
        </p:nvSpPr>
        <p:spPr>
          <a:xfrm>
            <a:off x="312812" y="373491"/>
            <a:ext cx="651939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Agenda</a:t>
            </a:r>
            <a:endParaRPr/>
          </a:p>
        </p:txBody>
      </p:sp>
      <p:sp>
        <p:nvSpPr>
          <p:cNvPr id="468" name="Google Shape;468;p9"/>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6</a:t>
            </a:fld>
            <a:endParaRPr>
              <a:latin typeface="Source Sans Pro"/>
              <a:ea typeface="Source Sans Pro"/>
              <a:cs typeface="Source Sans Pro"/>
              <a:sym typeface="Source Sans Pro"/>
            </a:endParaRPr>
          </a:p>
        </p:txBody>
      </p:sp>
      <p:sp>
        <p:nvSpPr>
          <p:cNvPr id="470" name="Google Shape;470;p9"/>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Source Sans Pro"/>
                <a:sym typeface="Source Sans Pro"/>
              </a:rPr>
              <a:t>Agenda</a:t>
            </a:r>
            <a:endParaRPr sz="1800" b="0" i="0" u="none" strike="noStrike" cap="none">
              <a:solidFill>
                <a:schemeClr val="dk1"/>
              </a:solidFill>
              <a:latin typeface="Calibri"/>
              <a:ea typeface="Calibri"/>
              <a:cs typeface="Calibri"/>
              <a:sym typeface="Calibri"/>
            </a:endParaRPr>
          </a:p>
        </p:txBody>
      </p:sp>
      <p:sp>
        <p:nvSpPr>
          <p:cNvPr id="471" name="Google Shape;471;p9"/>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05 Sprint 5 Demo</a:t>
            </a:r>
            <a:endParaRPr sz="1200" b="0" i="0" u="none" strike="noStrike" cap="none">
              <a:solidFill>
                <a:srgbClr val="747C74"/>
              </a:solidFill>
              <a:latin typeface="Calibri"/>
              <a:ea typeface="Calibri"/>
              <a:cs typeface="Calibri"/>
              <a:sym typeface="Calibri"/>
            </a:endParaRPr>
          </a:p>
        </p:txBody>
      </p:sp>
      <p:sp>
        <p:nvSpPr>
          <p:cNvPr id="472" name="Google Shape;472;p9"/>
          <p:cNvSpPr txBox="1"/>
          <p:nvPr/>
        </p:nvSpPr>
        <p:spPr>
          <a:xfrm>
            <a:off x="312862" y="1599897"/>
            <a:ext cx="2257024" cy="2189353"/>
          </a:xfrm>
          <a:prstGeom prst="rect">
            <a:avLst/>
          </a:prstGeom>
          <a:noFill/>
          <a:ln>
            <a:noFill/>
          </a:ln>
        </p:spPr>
        <p:txBody>
          <a:bodyPr spcFirstLastPara="1" wrap="square" lIns="91425" tIns="45700" rIns="91425" bIns="45700" anchor="t" anchorCtr="0">
            <a:normAutofit/>
          </a:bodyPr>
          <a:lstStyle/>
          <a:p>
            <a:pPr>
              <a:lnSpc>
                <a:spcPct val="115000"/>
              </a:lnSpc>
              <a:buClr>
                <a:schemeClr val="accent2"/>
              </a:buClr>
              <a:buSzPts val="1400"/>
            </a:pPr>
            <a:r>
              <a:rPr lang="en-US" sz="1400" b="0" i="0" u="none" strike="noStrike" cap="none">
                <a:solidFill>
                  <a:schemeClr val="accent2"/>
                </a:solidFill>
                <a:latin typeface="PT Serif"/>
                <a:ea typeface="PT Serif"/>
                <a:cs typeface="PT Serif"/>
                <a:sym typeface="PT Serif"/>
              </a:rPr>
              <a:t>Sprint Goal:</a:t>
            </a:r>
            <a:r>
              <a:rPr lang="en-US" sz="1400" b="0" i="0" u="none" strike="noStrike" cap="none">
                <a:solidFill>
                  <a:schemeClr val="dk2"/>
                </a:solidFill>
                <a:latin typeface="PT Serif"/>
                <a:ea typeface="PT Serif"/>
                <a:cs typeface="PT Serif"/>
                <a:sym typeface="PT Serif"/>
              </a:rPr>
              <a:t> For sprint 5 we </a:t>
            </a:r>
            <a:r>
              <a:rPr lang="en-US">
                <a:latin typeface="PT Serif"/>
              </a:rPr>
              <a:t>focused on getting our product into staging and began our discovery on Community Care.  </a:t>
            </a:r>
            <a:endParaRPr lang="en-US" b="0" i="0" u="none" strike="noStrike" cap="none">
              <a:highlight>
                <a:srgbClr val="FFFF00"/>
              </a:highlight>
              <a:latin typeface="PT Serif"/>
            </a:endParaRPr>
          </a:p>
        </p:txBody>
      </p:sp>
      <p:graphicFrame>
        <p:nvGraphicFramePr>
          <p:cNvPr id="488" name="Google Shape;488;p9"/>
          <p:cNvGraphicFramePr/>
          <p:nvPr>
            <p:extLst>
              <p:ext uri="{D42A27DB-BD31-4B8C-83A1-F6EECF244321}">
                <p14:modId xmlns:p14="http://schemas.microsoft.com/office/powerpoint/2010/main" val="183147625"/>
              </p:ext>
            </p:extLst>
          </p:nvPr>
        </p:nvGraphicFramePr>
        <p:xfrm>
          <a:off x="3052078" y="5506152"/>
          <a:ext cx="8722786" cy="755196"/>
        </p:xfrm>
        <a:graphic>
          <a:graphicData uri="http://schemas.openxmlformats.org/drawingml/2006/table">
            <a:tbl>
              <a:tblPr firstRow="1" bandRow="1">
                <a:noFill/>
                <a:tableStyleId>{AC820A2F-F511-4E25-9DDC-E36724F9A483}</a:tableStyleId>
              </a:tblPr>
              <a:tblGrid>
                <a:gridCol w="121075">
                  <a:extLst>
                    <a:ext uri="{9D8B030D-6E8A-4147-A177-3AD203B41FA5}">
                      <a16:colId xmlns:a16="http://schemas.microsoft.com/office/drawing/2014/main" val="20000"/>
                    </a:ext>
                  </a:extLst>
                </a:gridCol>
                <a:gridCol w="8601711">
                  <a:extLst>
                    <a:ext uri="{9D8B030D-6E8A-4147-A177-3AD203B41FA5}">
                      <a16:colId xmlns:a16="http://schemas.microsoft.com/office/drawing/2014/main" val="20001"/>
                    </a:ext>
                  </a:extLst>
                </a:gridCol>
              </a:tblGrid>
              <a:tr h="755196">
                <a:tc>
                  <a:txBody>
                    <a:bodyPr/>
                    <a:lstStyle/>
                    <a:p>
                      <a:pPr marL="0" marR="0" lvl="0" indent="0" algn="l" rtl="0">
                        <a:spcBef>
                          <a:spcPts val="0"/>
                        </a:spcBef>
                        <a:spcAft>
                          <a:spcPts val="0"/>
                        </a:spcAft>
                        <a:buNone/>
                      </a:pPr>
                      <a:endParaRPr sz="1800"/>
                    </a:p>
                  </a:txBody>
                  <a:tcPr marL="0" marR="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2"/>
                          </a:solidFill>
                          <a:latin typeface="Source Sans Pro"/>
                          <a:ea typeface="Source Sans Pro"/>
                          <a:cs typeface="Source Sans Pro"/>
                          <a:sym typeface="Source Sans Pro"/>
                        </a:rPr>
                        <a:t>We welcome all feedback! Feedback will be collectively reviewed and prioritized appropriately based on where it stacks against other stories in the backlog as well as technical feasibility.</a:t>
                      </a:r>
                      <a:endParaRPr sz="1200" b="0" i="0" u="none" strike="noStrike" cap="none">
                        <a:solidFill>
                          <a:schemeClr val="dk1"/>
                        </a:solidFill>
                        <a:latin typeface="Source Sans Pro"/>
                        <a:ea typeface="Source Sans Pro"/>
                        <a:cs typeface="Source Sans Pro"/>
                        <a:sym typeface="Source Sans Pro"/>
                      </a:endParaRPr>
                    </a:p>
                  </a:txBody>
                  <a:tcPr marL="182875" marR="182875" marT="182875" marB="18287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8E8E8"/>
                    </a:solidFill>
                  </a:tcPr>
                </a:tc>
                <a:extLst>
                  <a:ext uri="{0D108BD9-81ED-4DB2-BD59-A6C34878D82A}">
                    <a16:rowId xmlns:a16="http://schemas.microsoft.com/office/drawing/2014/main" val="10000"/>
                  </a:ext>
                </a:extLst>
              </a:tr>
            </a:tbl>
          </a:graphicData>
        </a:graphic>
      </p:graphicFrame>
      <p:grpSp>
        <p:nvGrpSpPr>
          <p:cNvPr id="71" name="Group 70">
            <a:extLst>
              <a:ext uri="{FF2B5EF4-FFF2-40B4-BE49-F238E27FC236}">
                <a16:creationId xmlns:a16="http://schemas.microsoft.com/office/drawing/2014/main" id="{6AE99249-61B0-4010-A9C3-CCC1E2A6D758}"/>
              </a:ext>
            </a:extLst>
          </p:cNvPr>
          <p:cNvGrpSpPr/>
          <p:nvPr/>
        </p:nvGrpSpPr>
        <p:grpSpPr>
          <a:xfrm>
            <a:off x="3040851" y="4115739"/>
            <a:ext cx="1106250" cy="406001"/>
            <a:chOff x="3240398" y="1573764"/>
            <a:chExt cx="1106250" cy="406001"/>
          </a:xfrm>
        </p:grpSpPr>
        <p:sp>
          <p:nvSpPr>
            <p:cNvPr id="72" name="Google Shape;474;p9">
              <a:extLst>
                <a:ext uri="{FF2B5EF4-FFF2-40B4-BE49-F238E27FC236}">
                  <a16:creationId xmlns:a16="http://schemas.microsoft.com/office/drawing/2014/main" id="{D5C96F40-1821-472B-937D-A3A3238ECC48}"/>
                </a:ext>
              </a:extLst>
            </p:cNvPr>
            <p:cNvSpPr/>
            <p:nvPr/>
          </p:nvSpPr>
          <p:spPr>
            <a:xfrm>
              <a:off x="3240398" y="1576175"/>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50">
                  <a:solidFill>
                    <a:schemeClr val="bg1"/>
                  </a:solidFill>
                </a:rPr>
                <a:t>3</a:t>
              </a:r>
              <a:endParaRPr sz="1000" b="0" i="0" u="none" strike="noStrike" cap="none">
                <a:solidFill>
                  <a:schemeClr val="bg1"/>
                </a:solidFill>
                <a:latin typeface="Arial"/>
                <a:ea typeface="Arial"/>
                <a:cs typeface="Arial"/>
                <a:sym typeface="Arial"/>
              </a:endParaRPr>
            </a:p>
          </p:txBody>
        </p:sp>
        <p:sp>
          <p:nvSpPr>
            <p:cNvPr id="73" name="Google Shape;478;p9">
              <a:extLst>
                <a:ext uri="{FF2B5EF4-FFF2-40B4-BE49-F238E27FC236}">
                  <a16:creationId xmlns:a16="http://schemas.microsoft.com/office/drawing/2014/main" id="{A01F0CD4-3151-470D-98D7-45285C90FD04}"/>
                </a:ext>
              </a:extLst>
            </p:cNvPr>
            <p:cNvSpPr txBox="1"/>
            <p:nvPr/>
          </p:nvSpPr>
          <p:spPr>
            <a:xfrm>
              <a:off x="3532057" y="1573764"/>
              <a:ext cx="814591" cy="406001"/>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PRODUCT</a:t>
              </a:r>
              <a:endParaRPr lang="en-US"/>
            </a:p>
          </p:txBody>
        </p:sp>
      </p:grpSp>
      <p:grpSp>
        <p:nvGrpSpPr>
          <p:cNvPr id="75" name="Group 74">
            <a:extLst>
              <a:ext uri="{FF2B5EF4-FFF2-40B4-BE49-F238E27FC236}">
                <a16:creationId xmlns:a16="http://schemas.microsoft.com/office/drawing/2014/main" id="{2F4C0EEE-B2A5-4F5F-BA6D-5346F5BDD0C0}"/>
              </a:ext>
            </a:extLst>
          </p:cNvPr>
          <p:cNvGrpSpPr/>
          <p:nvPr/>
        </p:nvGrpSpPr>
        <p:grpSpPr>
          <a:xfrm>
            <a:off x="3064736" y="3031547"/>
            <a:ext cx="1161871" cy="297144"/>
            <a:chOff x="3262592" y="4234800"/>
            <a:chExt cx="1161871" cy="297144"/>
          </a:xfrm>
        </p:grpSpPr>
        <p:sp>
          <p:nvSpPr>
            <p:cNvPr id="76" name="Google Shape;475;p9">
              <a:extLst>
                <a:ext uri="{FF2B5EF4-FFF2-40B4-BE49-F238E27FC236}">
                  <a16:creationId xmlns:a16="http://schemas.microsoft.com/office/drawing/2014/main" id="{268B7FA2-6C97-4334-B410-4B8B13FCDB35}"/>
                </a:ext>
              </a:extLst>
            </p:cNvPr>
            <p:cNvSpPr txBox="1"/>
            <p:nvPr/>
          </p:nvSpPr>
          <p:spPr>
            <a:xfrm>
              <a:off x="3536983" y="4234800"/>
              <a:ext cx="887480" cy="297144"/>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TECH</a:t>
              </a:r>
              <a:endParaRPr lang="en-US"/>
            </a:p>
          </p:txBody>
        </p:sp>
        <p:sp>
          <p:nvSpPr>
            <p:cNvPr id="77" name="Google Shape;479;p9">
              <a:extLst>
                <a:ext uri="{FF2B5EF4-FFF2-40B4-BE49-F238E27FC236}">
                  <a16:creationId xmlns:a16="http://schemas.microsoft.com/office/drawing/2014/main" id="{319F3EB9-B9AB-47B5-935A-2E77E1103EA2}"/>
                </a:ext>
              </a:extLst>
            </p:cNvPr>
            <p:cNvSpPr/>
            <p:nvPr/>
          </p:nvSpPr>
          <p:spPr>
            <a:xfrm>
              <a:off x="3262592" y="4242802"/>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00" b="0" i="0" u="none" strike="noStrike" cap="none">
                  <a:solidFill>
                    <a:schemeClr val="bg1"/>
                  </a:solidFill>
                  <a:latin typeface="Arial"/>
                  <a:ea typeface="Arial"/>
                  <a:cs typeface="Arial"/>
                  <a:sym typeface="Arial"/>
                </a:rPr>
                <a:t>2</a:t>
              </a:r>
              <a:endParaRPr sz="1000" b="0" i="0" u="none" strike="noStrike" cap="none">
                <a:solidFill>
                  <a:schemeClr val="bg1"/>
                </a:solidFill>
                <a:latin typeface="Arial"/>
                <a:ea typeface="Arial"/>
                <a:cs typeface="Arial"/>
                <a:sym typeface="Arial"/>
              </a:endParaRPr>
            </a:p>
          </p:txBody>
        </p:sp>
      </p:grpSp>
      <p:grpSp>
        <p:nvGrpSpPr>
          <p:cNvPr id="78" name="Group 77">
            <a:extLst>
              <a:ext uri="{FF2B5EF4-FFF2-40B4-BE49-F238E27FC236}">
                <a16:creationId xmlns:a16="http://schemas.microsoft.com/office/drawing/2014/main" id="{F7502587-5DE6-406D-9E54-BB691FC4A86F}"/>
              </a:ext>
            </a:extLst>
          </p:cNvPr>
          <p:cNvGrpSpPr/>
          <p:nvPr/>
        </p:nvGrpSpPr>
        <p:grpSpPr>
          <a:xfrm>
            <a:off x="3052078" y="1621026"/>
            <a:ext cx="1155249" cy="406001"/>
            <a:chOff x="3247796" y="2994263"/>
            <a:chExt cx="1155249" cy="406001"/>
          </a:xfrm>
        </p:grpSpPr>
        <p:sp>
          <p:nvSpPr>
            <p:cNvPr id="79" name="Google Shape;477;p9">
              <a:extLst>
                <a:ext uri="{FF2B5EF4-FFF2-40B4-BE49-F238E27FC236}">
                  <a16:creationId xmlns:a16="http://schemas.microsoft.com/office/drawing/2014/main" id="{45BA4165-8BF6-4BD3-92B1-A3E8680CD879}"/>
                </a:ext>
              </a:extLst>
            </p:cNvPr>
            <p:cNvSpPr/>
            <p:nvPr/>
          </p:nvSpPr>
          <p:spPr>
            <a:xfrm>
              <a:off x="3247796" y="2996622"/>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00" b="0" i="0" u="none" strike="noStrike" cap="none">
                  <a:solidFill>
                    <a:schemeClr val="bg1"/>
                  </a:solidFill>
                  <a:latin typeface="Arial"/>
                  <a:ea typeface="Arial"/>
                  <a:cs typeface="Arial"/>
                  <a:sym typeface="Arial"/>
                </a:rPr>
                <a:t>1</a:t>
              </a:r>
              <a:endParaRPr sz="1000" b="0" i="0" u="none" strike="noStrike" cap="none">
                <a:solidFill>
                  <a:schemeClr val="bg1"/>
                </a:solidFill>
                <a:latin typeface="Arial"/>
                <a:ea typeface="Arial"/>
                <a:cs typeface="Arial"/>
                <a:sym typeface="Arial"/>
              </a:endParaRPr>
            </a:p>
          </p:txBody>
        </p:sp>
        <p:sp>
          <p:nvSpPr>
            <p:cNvPr id="80" name="Google Shape;480;p9">
              <a:extLst>
                <a:ext uri="{FF2B5EF4-FFF2-40B4-BE49-F238E27FC236}">
                  <a16:creationId xmlns:a16="http://schemas.microsoft.com/office/drawing/2014/main" id="{262992FD-1F78-4278-9278-B8CD286D5ACA}"/>
                </a:ext>
              </a:extLst>
            </p:cNvPr>
            <p:cNvSpPr txBox="1"/>
            <p:nvPr/>
          </p:nvSpPr>
          <p:spPr>
            <a:xfrm>
              <a:off x="3530079" y="2994263"/>
              <a:ext cx="872966" cy="406001"/>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DESIGN</a:t>
              </a:r>
              <a:endParaRPr lang="en-US"/>
            </a:p>
          </p:txBody>
        </p:sp>
      </p:grpSp>
      <p:cxnSp>
        <p:nvCxnSpPr>
          <p:cNvPr id="83" name="Google Shape;485;p9">
            <a:extLst>
              <a:ext uri="{FF2B5EF4-FFF2-40B4-BE49-F238E27FC236}">
                <a16:creationId xmlns:a16="http://schemas.microsoft.com/office/drawing/2014/main" id="{8A2F6C26-81D3-43E5-B4BE-4DD32D42E75D}"/>
              </a:ext>
            </a:extLst>
          </p:cNvPr>
          <p:cNvCxnSpPr/>
          <p:nvPr/>
        </p:nvCxnSpPr>
        <p:spPr>
          <a:xfrm>
            <a:off x="3064736" y="2875881"/>
            <a:ext cx="8697470" cy="13606"/>
          </a:xfrm>
          <a:prstGeom prst="straightConnector1">
            <a:avLst/>
          </a:prstGeom>
          <a:noFill/>
          <a:ln w="9525" cap="flat" cmpd="sng">
            <a:solidFill>
              <a:srgbClr val="747C74"/>
            </a:solidFill>
            <a:prstDash val="dot"/>
            <a:round/>
            <a:headEnd type="none" w="sm" len="sm"/>
            <a:tailEnd type="none" w="sm" len="sm"/>
          </a:ln>
        </p:spPr>
      </p:cxnSp>
      <p:cxnSp>
        <p:nvCxnSpPr>
          <p:cNvPr id="84" name="Google Shape;486;p9">
            <a:extLst>
              <a:ext uri="{FF2B5EF4-FFF2-40B4-BE49-F238E27FC236}">
                <a16:creationId xmlns:a16="http://schemas.microsoft.com/office/drawing/2014/main" id="{AC6210DF-562A-41C9-9E37-6F2588D8CA5A}"/>
              </a:ext>
            </a:extLst>
          </p:cNvPr>
          <p:cNvCxnSpPr/>
          <p:nvPr/>
        </p:nvCxnSpPr>
        <p:spPr>
          <a:xfrm>
            <a:off x="3093966" y="4052183"/>
            <a:ext cx="8697470" cy="0"/>
          </a:xfrm>
          <a:prstGeom prst="straightConnector1">
            <a:avLst/>
          </a:prstGeom>
          <a:noFill/>
          <a:ln w="9525" cap="flat" cmpd="sng">
            <a:solidFill>
              <a:srgbClr val="747C74"/>
            </a:solidFill>
            <a:prstDash val="dot"/>
            <a:round/>
            <a:headEnd type="none" w="sm" len="sm"/>
            <a:tailEnd type="none" w="sm" len="sm"/>
          </a:ln>
        </p:spPr>
      </p:cxnSp>
      <p:sp>
        <p:nvSpPr>
          <p:cNvPr id="26" name="Google Shape;482;p9">
            <a:extLst>
              <a:ext uri="{FF2B5EF4-FFF2-40B4-BE49-F238E27FC236}">
                <a16:creationId xmlns:a16="http://schemas.microsoft.com/office/drawing/2014/main" id="{63D5B65A-793E-4E79-B52C-834340BABD85}"/>
              </a:ext>
            </a:extLst>
          </p:cNvPr>
          <p:cNvSpPr txBox="1"/>
          <p:nvPr/>
        </p:nvSpPr>
        <p:spPr>
          <a:xfrm>
            <a:off x="4487466" y="3029549"/>
            <a:ext cx="6213890" cy="861774"/>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sz="900">
                <a:latin typeface="PT Serif"/>
              </a:rPr>
              <a:t>Built end to end flow to download a PDF</a:t>
            </a:r>
          </a:p>
          <a:p>
            <a:pPr marL="228600" indent="-228600">
              <a:spcBef>
                <a:spcPts val="600"/>
              </a:spcBef>
              <a:buClr>
                <a:srgbClr val="747C74"/>
              </a:buClr>
              <a:buSzPts val="1200"/>
              <a:buAutoNum type="alphaUcPeriod"/>
            </a:pPr>
            <a:r>
              <a:rPr lang="en-US" sz="900">
                <a:latin typeface="PT Serif"/>
              </a:rPr>
              <a:t>Revised code to ensure privacy specifications given by backend team</a:t>
            </a:r>
          </a:p>
          <a:p>
            <a:pPr marL="228600" indent="-228600">
              <a:spcBef>
                <a:spcPts val="600"/>
              </a:spcBef>
              <a:buClr>
                <a:srgbClr val="747C74"/>
              </a:buClr>
              <a:buSzPts val="1200"/>
              <a:buAutoNum type="alphaUcPeriod"/>
            </a:pPr>
            <a:r>
              <a:rPr lang="en-US" sz="900">
                <a:latin typeface="PT Serif"/>
              </a:rPr>
              <a:t>CC: Investigate VAOS data connections</a:t>
            </a:r>
          </a:p>
          <a:p>
            <a:pPr marL="228600" indent="-228600">
              <a:spcBef>
                <a:spcPts val="600"/>
              </a:spcBef>
              <a:buClr>
                <a:srgbClr val="747C74"/>
              </a:buClr>
              <a:buSzPts val="1200"/>
              <a:buAutoNum type="alphaUcPeriod"/>
            </a:pPr>
            <a:r>
              <a:rPr lang="en-US" sz="900">
                <a:latin typeface="PT Serif"/>
              </a:rPr>
              <a:t>CC: High level investigation into eligibility API</a:t>
            </a:r>
          </a:p>
        </p:txBody>
      </p:sp>
      <p:sp>
        <p:nvSpPr>
          <p:cNvPr id="29" name="Google Shape;482;p9">
            <a:extLst>
              <a:ext uri="{FF2B5EF4-FFF2-40B4-BE49-F238E27FC236}">
                <a16:creationId xmlns:a16="http://schemas.microsoft.com/office/drawing/2014/main" id="{CE4534C1-122C-4584-960F-B0117C9A488A}"/>
              </a:ext>
            </a:extLst>
          </p:cNvPr>
          <p:cNvSpPr txBox="1"/>
          <p:nvPr/>
        </p:nvSpPr>
        <p:spPr>
          <a:xfrm>
            <a:off x="4487466" y="1641663"/>
            <a:ext cx="6845715" cy="1292662"/>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sz="900">
                <a:solidFill>
                  <a:schemeClr val="tx1"/>
                </a:solidFill>
                <a:latin typeface="PT Serif"/>
                <a:sym typeface="PT Serif"/>
              </a:rPr>
              <a:t>Updated 1095-B product guides and video for Contact Center Review and HEC</a:t>
            </a:r>
          </a:p>
          <a:p>
            <a:pPr marL="228600" indent="-228600">
              <a:spcBef>
                <a:spcPts val="600"/>
              </a:spcBef>
              <a:buClr>
                <a:srgbClr val="747C74"/>
              </a:buClr>
              <a:buSzPts val="1200"/>
              <a:buAutoNum type="alphaUcPeriod"/>
            </a:pPr>
            <a:r>
              <a:rPr lang="en-US" sz="900">
                <a:solidFill>
                  <a:schemeClr val="tx1"/>
                </a:solidFill>
                <a:latin typeface="PT Serif"/>
                <a:sym typeface="PT Serif"/>
              </a:rPr>
              <a:t>Draft, notification templates for 1095-B Opt-in </a:t>
            </a:r>
            <a:endParaRPr lang="en-US" sz="900">
              <a:solidFill>
                <a:schemeClr val="tx1"/>
              </a:solidFill>
              <a:latin typeface="PT Serif"/>
            </a:endParaRPr>
          </a:p>
          <a:p>
            <a:pPr marL="228600" indent="-228600">
              <a:spcBef>
                <a:spcPts val="600"/>
              </a:spcBef>
              <a:buClr>
                <a:srgbClr val="747C74"/>
              </a:buClr>
              <a:buSzPts val="1200"/>
              <a:buAutoNum type="alphaUcPeriod"/>
            </a:pPr>
            <a:r>
              <a:rPr lang="en-US" sz="900">
                <a:solidFill>
                  <a:schemeClr val="tx1"/>
                </a:solidFill>
                <a:latin typeface="PT Serif"/>
              </a:rPr>
              <a:t>Finalized 1095-B content changes &amp; error states with Sitewide Content team</a:t>
            </a:r>
          </a:p>
          <a:p>
            <a:pPr marL="228600" indent="-228600">
              <a:spcBef>
                <a:spcPts val="600"/>
              </a:spcBef>
              <a:buClr>
                <a:srgbClr val="747C74"/>
              </a:buClr>
              <a:buSzPts val="1200"/>
              <a:buAutoNum type="alphaUcPeriod"/>
            </a:pPr>
            <a:r>
              <a:rPr lang="en-US" sz="900">
                <a:solidFill>
                  <a:schemeClr val="tx1"/>
                </a:solidFill>
                <a:latin typeface="PT Serif"/>
              </a:rPr>
              <a:t>CC: User journey discovery </a:t>
            </a:r>
          </a:p>
          <a:p>
            <a:pPr marL="228600" indent="-228600">
              <a:spcBef>
                <a:spcPts val="600"/>
              </a:spcBef>
              <a:buSzPts val="1200"/>
              <a:buAutoNum type="alphaUcPeriod"/>
            </a:pPr>
            <a:r>
              <a:rPr lang="en-US" sz="900">
                <a:solidFill>
                  <a:schemeClr val="tx1"/>
                </a:solidFill>
                <a:latin typeface="PT Serif"/>
              </a:rPr>
              <a:t>CC: Draft journey map</a:t>
            </a:r>
            <a:endParaRPr lang="en-US" sz="900">
              <a:solidFill>
                <a:schemeClr val="tx1"/>
              </a:solidFill>
            </a:endParaRPr>
          </a:p>
          <a:p>
            <a:pPr marL="228600" indent="-228600">
              <a:spcBef>
                <a:spcPts val="600"/>
              </a:spcBef>
              <a:buClr>
                <a:srgbClr val="747C74"/>
              </a:buClr>
              <a:buSzPts val="1200"/>
              <a:buAutoNum type="alphaUcPeriod"/>
            </a:pPr>
            <a:endParaRPr lang="en-US" sz="900">
              <a:solidFill>
                <a:schemeClr val="tx1"/>
              </a:solidFill>
              <a:latin typeface="PT Serif"/>
            </a:endParaRPr>
          </a:p>
        </p:txBody>
      </p:sp>
      <p:sp>
        <p:nvSpPr>
          <p:cNvPr id="30" name="Google Shape;482;p9">
            <a:extLst>
              <a:ext uri="{FF2B5EF4-FFF2-40B4-BE49-F238E27FC236}">
                <a16:creationId xmlns:a16="http://schemas.microsoft.com/office/drawing/2014/main" id="{100AEE39-1F64-4466-ACEE-5B01ED088536}"/>
              </a:ext>
            </a:extLst>
          </p:cNvPr>
          <p:cNvSpPr txBox="1"/>
          <p:nvPr/>
        </p:nvSpPr>
        <p:spPr>
          <a:xfrm>
            <a:off x="4487466" y="4173661"/>
            <a:ext cx="6083811" cy="861774"/>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sz="900">
                <a:latin typeface="PT Serif"/>
              </a:rPr>
              <a:t>Investigated how to make our PDF accessible </a:t>
            </a:r>
          </a:p>
          <a:p>
            <a:pPr marL="228600" indent="-228600">
              <a:spcBef>
                <a:spcPts val="600"/>
              </a:spcBef>
              <a:buClr>
                <a:srgbClr val="747C74"/>
              </a:buClr>
              <a:buSzPts val="1200"/>
              <a:buAutoNum type="alphaUcPeriod"/>
            </a:pPr>
            <a:r>
              <a:rPr lang="en-US" sz="900">
                <a:latin typeface="PT Serif"/>
              </a:rPr>
              <a:t>Coordinate remaining collaboration cycle reviews </a:t>
            </a:r>
          </a:p>
          <a:p>
            <a:pPr marL="228600" indent="-228600">
              <a:spcBef>
                <a:spcPts val="600"/>
              </a:spcBef>
              <a:buClr>
                <a:srgbClr val="747C74"/>
              </a:buClr>
              <a:buSzPts val="1200"/>
              <a:buAutoNum type="alphaUcPeriod"/>
            </a:pPr>
            <a:r>
              <a:rPr lang="en-US" sz="900">
                <a:latin typeface="PT Serif"/>
              </a:rPr>
              <a:t>Investigate with Profiles team and HEC to understand how opt in process may be built</a:t>
            </a:r>
          </a:p>
          <a:p>
            <a:pPr marL="228600" indent="-228600">
              <a:spcBef>
                <a:spcPts val="600"/>
              </a:spcBef>
              <a:buClr>
                <a:srgbClr val="747C74"/>
              </a:buClr>
              <a:buSzPts val="1200"/>
              <a:buAutoNum type="alphaUcPeriod"/>
            </a:pPr>
            <a:r>
              <a:rPr lang="en-US" sz="900">
                <a:latin typeface="PT Serif"/>
              </a:rPr>
              <a:t>CC: Coordinate and manage tech discovery</a:t>
            </a:r>
          </a:p>
        </p:txBody>
      </p:sp>
      <p:cxnSp>
        <p:nvCxnSpPr>
          <p:cNvPr id="23" name="Google Shape;485;p9">
            <a:extLst>
              <a:ext uri="{FF2B5EF4-FFF2-40B4-BE49-F238E27FC236}">
                <a16:creationId xmlns:a16="http://schemas.microsoft.com/office/drawing/2014/main" id="{7D7890BD-07EE-C7A8-3130-5C4B3C280C68}"/>
              </a:ext>
            </a:extLst>
          </p:cNvPr>
          <p:cNvCxnSpPr>
            <a:cxnSpLocks/>
          </p:cNvCxnSpPr>
          <p:nvPr/>
        </p:nvCxnSpPr>
        <p:spPr>
          <a:xfrm>
            <a:off x="3040851" y="1509815"/>
            <a:ext cx="8697469" cy="0"/>
          </a:xfrm>
          <a:prstGeom prst="straightConnector1">
            <a:avLst/>
          </a:prstGeom>
          <a:noFill/>
          <a:ln w="9525" cap="flat" cmpd="sng">
            <a:solidFill>
              <a:srgbClr val="747C74"/>
            </a:solidFill>
            <a:prstDash val="dot"/>
            <a:round/>
            <a:headEnd type="none" w="sm" len="sm"/>
            <a:tailEnd type="none" w="sm" len="sm"/>
          </a:ln>
        </p:spPr>
      </p:cxnSp>
      <p:cxnSp>
        <p:nvCxnSpPr>
          <p:cNvPr id="24" name="Google Shape;486;p9">
            <a:extLst>
              <a:ext uri="{FF2B5EF4-FFF2-40B4-BE49-F238E27FC236}">
                <a16:creationId xmlns:a16="http://schemas.microsoft.com/office/drawing/2014/main" id="{9895C561-40F6-FFF0-1D13-CF25703C5BED}"/>
              </a:ext>
            </a:extLst>
          </p:cNvPr>
          <p:cNvCxnSpPr>
            <a:cxnSpLocks/>
          </p:cNvCxnSpPr>
          <p:nvPr/>
        </p:nvCxnSpPr>
        <p:spPr>
          <a:xfrm>
            <a:off x="3077395" y="5222577"/>
            <a:ext cx="8697469" cy="6804"/>
          </a:xfrm>
          <a:prstGeom prst="straightConnector1">
            <a:avLst/>
          </a:prstGeom>
          <a:noFill/>
          <a:ln w="9525" cap="flat" cmpd="sng">
            <a:solidFill>
              <a:srgbClr val="747C74"/>
            </a:solidFill>
            <a:prstDash val="dot"/>
            <a:round/>
            <a:headEnd type="none" w="sm" len="sm"/>
            <a:tailEnd type="none" w="sm" len="sm"/>
          </a:ln>
        </p:spPr>
      </p:cxn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23"/>
        <p:cNvGrpSpPr/>
        <p:nvPr/>
      </p:nvGrpSpPr>
      <p:grpSpPr>
        <a:xfrm>
          <a:off x="0" y="0"/>
          <a:ext cx="0" cy="0"/>
          <a:chOff x="0" y="0"/>
          <a:chExt cx="0" cy="0"/>
        </a:xfrm>
      </p:grpSpPr>
      <p:sp>
        <p:nvSpPr>
          <p:cNvPr id="324" name="Google Shape;324;p5"/>
          <p:cNvSpPr txBox="1">
            <a:spLocks noGrp="1"/>
          </p:cNvSpPr>
          <p:nvPr>
            <p:ph type="ctrTitle"/>
          </p:nvPr>
        </p:nvSpPr>
        <p:spPr>
          <a:xfrm>
            <a:off x="248880" y="2938176"/>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6600"/>
              <a:buFont typeface="PT Serif"/>
              <a:buNone/>
            </a:pPr>
            <a:r>
              <a:rPr lang="en-US"/>
              <a:t>1095-B Overview</a:t>
            </a:r>
            <a:endParaRPr/>
          </a:p>
        </p:txBody>
      </p:sp>
      <p:sp>
        <p:nvSpPr>
          <p:cNvPr id="325" name="Google Shape;325;p5"/>
          <p:cNvSpPr txBox="1">
            <a:spLocks noGrp="1"/>
          </p:cNvSpPr>
          <p:nvPr>
            <p:ph type="body" idx="1"/>
          </p:nvPr>
        </p:nvSpPr>
        <p:spPr>
          <a:xfrm>
            <a:off x="341868" y="2523777"/>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a:t>SPRINT 5 DEMO</a:t>
            </a:r>
            <a:endParaRPr/>
          </a:p>
        </p:txBody>
      </p:sp>
      <p:sp>
        <p:nvSpPr>
          <p:cNvPr id="326" name="Google Shape;326;p5"/>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7</a:t>
            </a:fld>
            <a:endParaRPr/>
          </a:p>
        </p:txBody>
      </p:sp>
      <p:sp>
        <p:nvSpPr>
          <p:cNvPr id="2" name="Google Shape;265;p4">
            <a:extLst>
              <a:ext uri="{FF2B5EF4-FFF2-40B4-BE49-F238E27FC236}">
                <a16:creationId xmlns:a16="http://schemas.microsoft.com/office/drawing/2014/main" id="{F23191FC-7B29-89F5-21F1-7FF0E32525D9}"/>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05 Sprint 5 Demo</a:t>
            </a:r>
            <a:endParaRPr sz="1800" b="0" i="0" u="none" strike="noStrike" cap="none">
              <a:solidFill>
                <a:srgbClr val="747C74"/>
              </a:solidFill>
              <a:latin typeface="Calibri"/>
              <a:ea typeface="Calibri"/>
              <a:cs typeface="Calibri"/>
              <a:sym typeface="Calibri"/>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30"/>
        <p:cNvGrpSpPr/>
        <p:nvPr/>
      </p:nvGrpSpPr>
      <p:grpSpPr>
        <a:xfrm>
          <a:off x="0" y="0"/>
          <a:ext cx="0" cy="0"/>
          <a:chOff x="0" y="0"/>
          <a:chExt cx="0" cy="0"/>
        </a:xfrm>
      </p:grpSpPr>
      <p:sp>
        <p:nvSpPr>
          <p:cNvPr id="331" name="Google Shape;331;p6"/>
          <p:cNvSpPr txBox="1">
            <a:spLocks noGrp="1"/>
          </p:cNvSpPr>
          <p:nvPr>
            <p:ph type="body" idx="1"/>
          </p:nvPr>
        </p:nvSpPr>
        <p:spPr>
          <a:xfrm>
            <a:off x="327995" y="1721708"/>
            <a:ext cx="5336436" cy="4351338"/>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SzPts val="1400"/>
              <a:buNone/>
            </a:pPr>
            <a:r>
              <a:rPr lang="en-US"/>
              <a:t>Digitize 1095-B form on VA.gov so Veterans can easily access the form and download the form for their records.</a:t>
            </a:r>
            <a:endParaRPr/>
          </a:p>
          <a:p>
            <a:pPr marL="0" lvl="0" indent="0" algn="l" rtl="0">
              <a:lnSpc>
                <a:spcPct val="90000"/>
              </a:lnSpc>
              <a:spcBef>
                <a:spcPts val="1000"/>
              </a:spcBef>
              <a:spcAft>
                <a:spcPts val="0"/>
              </a:spcAft>
              <a:buSzPts val="1400"/>
              <a:buNone/>
            </a:pPr>
            <a:endParaRPr/>
          </a:p>
        </p:txBody>
      </p:sp>
      <p:sp>
        <p:nvSpPr>
          <p:cNvPr id="333" name="Google Shape;333;p6"/>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Project objectives</a:t>
            </a:r>
            <a:endParaRPr/>
          </a:p>
        </p:txBody>
      </p:sp>
      <p:sp>
        <p:nvSpPr>
          <p:cNvPr id="334" name="Google Shape;334;p6"/>
          <p:cNvSpPr txBox="1">
            <a:spLocks noGrp="1"/>
          </p:cNvSpPr>
          <p:nvPr>
            <p:ph type="body" idx="3"/>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1400"/>
              <a:buNone/>
            </a:pPr>
            <a:r>
              <a:rPr lang="en-US"/>
              <a:t>OVERVIEW</a:t>
            </a:r>
            <a:endParaRPr/>
          </a:p>
        </p:txBody>
      </p:sp>
      <p:sp>
        <p:nvSpPr>
          <p:cNvPr id="337" name="Google Shape;337;p6"/>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05 Sprint 5 Demo</a:t>
            </a:r>
            <a:endParaRPr sz="1200" b="0" i="0" u="none" strike="noStrike" cap="none">
              <a:solidFill>
                <a:srgbClr val="747C74"/>
              </a:solidFill>
              <a:latin typeface="Calibri"/>
              <a:ea typeface="Calibri"/>
              <a:cs typeface="Calibri"/>
              <a:sym typeface="Calibri"/>
            </a:endParaRPr>
          </a:p>
        </p:txBody>
      </p:sp>
      <p:pic>
        <p:nvPicPr>
          <p:cNvPr id="338" name="Google Shape;338;p6"/>
          <p:cNvPicPr preferRelativeResize="0"/>
          <p:nvPr/>
        </p:nvPicPr>
        <p:blipFill rotWithShape="1">
          <a:blip r:embed="rId3">
            <a:alphaModFix/>
          </a:blip>
          <a:srcRect l="5900" r="34664"/>
          <a:stretch/>
        </p:blipFill>
        <p:spPr>
          <a:xfrm>
            <a:off x="6855565" y="14515"/>
            <a:ext cx="5336436" cy="6858000"/>
          </a:xfrm>
          <a:prstGeom prst="rect">
            <a:avLst/>
          </a:prstGeom>
          <a:noFill/>
          <a:ln>
            <a:noFill/>
          </a:ln>
        </p:spPr>
      </p:pic>
      <p:sp>
        <p:nvSpPr>
          <p:cNvPr id="3" name="Google Shape;263;p4">
            <a:extLst>
              <a:ext uri="{FF2B5EF4-FFF2-40B4-BE49-F238E27FC236}">
                <a16:creationId xmlns:a16="http://schemas.microsoft.com/office/drawing/2014/main" id="{66006C5B-9348-4EDF-A4CD-C4D1A1D98F6F}"/>
              </a:ext>
            </a:extLst>
          </p:cNvPr>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8</a:t>
            </a:fld>
            <a:endParaRPr>
              <a:latin typeface="Source Sans Pro"/>
              <a:ea typeface="Source Sans Pro"/>
              <a:cs typeface="Source Sans Pro"/>
              <a:sym typeface="Source Sans Pro"/>
            </a:endParaRPr>
          </a:p>
        </p:txBody>
      </p:sp>
      <p:sp>
        <p:nvSpPr>
          <p:cNvPr id="4" name="Google Shape;264;p4">
            <a:extLst>
              <a:ext uri="{FF2B5EF4-FFF2-40B4-BE49-F238E27FC236}">
                <a16:creationId xmlns:a16="http://schemas.microsoft.com/office/drawing/2014/main" id="{8A222FD3-0C71-47F8-8E70-78DCD7F2B113}"/>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sym typeface="Source Sans Pro"/>
              </a:rPr>
              <a:t>Overview</a:t>
            </a:r>
            <a:endParaRPr lang="en-US"/>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613"/>
        <p:cNvGrpSpPr/>
        <p:nvPr/>
      </p:nvGrpSpPr>
      <p:grpSpPr>
        <a:xfrm>
          <a:off x="0" y="0"/>
          <a:ext cx="0" cy="0"/>
          <a:chOff x="0" y="0"/>
          <a:chExt cx="0" cy="0"/>
        </a:xfrm>
      </p:grpSpPr>
      <p:sp>
        <p:nvSpPr>
          <p:cNvPr id="616" name="Google Shape;616;p15"/>
          <p:cNvSpPr txBox="1"/>
          <p:nvPr/>
        </p:nvSpPr>
        <p:spPr>
          <a:xfrm>
            <a:off x="410079" y="750806"/>
            <a:ext cx="11064890" cy="2035841"/>
          </a:xfrm>
          <a:prstGeom prst="rect">
            <a:avLst/>
          </a:prstGeom>
          <a:noFill/>
          <a:ln>
            <a:noFill/>
          </a:ln>
        </p:spPr>
        <p:txBody>
          <a:bodyPr spcFirstLastPara="1" wrap="square" lIns="0" tIns="0" rIns="0" bIns="0" anchor="t" anchorCtr="0">
            <a:noAutofit/>
          </a:bodyPr>
          <a:lstStyle/>
          <a:p>
            <a:pPr>
              <a:lnSpc>
                <a:spcPct val="90000"/>
              </a:lnSpc>
              <a:buClr>
                <a:schemeClr val="dk1"/>
              </a:buClr>
              <a:buSzPts val="3600"/>
            </a:pPr>
            <a:r>
              <a:rPr lang="en-US" sz="2800">
                <a:solidFill>
                  <a:schemeClr val="dk1"/>
                </a:solidFill>
                <a:latin typeface="PT Serif"/>
                <a:ea typeface="PT Serif"/>
                <a:cs typeface="PT Serif"/>
                <a:sym typeface="PT Serif"/>
              </a:rPr>
              <a:t>We presented our finished product and informational materials to our business owner at the Health Enrollment Center</a:t>
            </a:r>
            <a:endParaRPr lang="en-US" sz="2800" b="0" i="0" u="none" strike="noStrike" cap="none">
              <a:solidFill>
                <a:schemeClr val="dk1"/>
              </a:solidFill>
              <a:latin typeface="PT Serif"/>
              <a:ea typeface="PT Serif"/>
              <a:cs typeface="PT Serif"/>
            </a:endParaRPr>
          </a:p>
        </p:txBody>
      </p:sp>
      <p:grpSp>
        <p:nvGrpSpPr>
          <p:cNvPr id="9" name="Google Shape;602;p14">
            <a:extLst>
              <a:ext uri="{FF2B5EF4-FFF2-40B4-BE49-F238E27FC236}">
                <a16:creationId xmlns:a16="http://schemas.microsoft.com/office/drawing/2014/main" id="{05E19E48-B4E9-449E-A058-92E5CEAB7640}"/>
              </a:ext>
            </a:extLst>
          </p:cNvPr>
          <p:cNvGrpSpPr/>
          <p:nvPr/>
        </p:nvGrpSpPr>
        <p:grpSpPr>
          <a:xfrm>
            <a:off x="410431" y="309109"/>
            <a:ext cx="5150524" cy="369094"/>
            <a:chOff x="410431" y="309109"/>
            <a:chExt cx="5150524" cy="369094"/>
          </a:xfrm>
        </p:grpSpPr>
        <p:sp>
          <p:nvSpPr>
            <p:cNvPr id="20" name="Google Shape;603;p14">
              <a:extLst>
                <a:ext uri="{FF2B5EF4-FFF2-40B4-BE49-F238E27FC236}">
                  <a16:creationId xmlns:a16="http://schemas.microsoft.com/office/drawing/2014/main" id="{9E7075AF-F616-4520-BC84-0C46B1F8E3E8}"/>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21" name="Google Shape;604;p14">
              <a:extLst>
                <a:ext uri="{FF2B5EF4-FFF2-40B4-BE49-F238E27FC236}">
                  <a16:creationId xmlns:a16="http://schemas.microsoft.com/office/drawing/2014/main" id="{3FF578D4-4FB2-4797-A4AC-7C286ECC3CC1}"/>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11" name="Google Shape;337;p6">
            <a:extLst>
              <a:ext uri="{FF2B5EF4-FFF2-40B4-BE49-F238E27FC236}">
                <a16:creationId xmlns:a16="http://schemas.microsoft.com/office/drawing/2014/main" id="{B8747EB6-5160-4889-A9E1-0A810192FC7B}"/>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05 Sprint 5 Demo</a:t>
            </a:r>
            <a:endParaRPr sz="1200" b="0" i="0" u="none" strike="noStrike" cap="none">
              <a:solidFill>
                <a:srgbClr val="747C74"/>
              </a:solidFill>
              <a:latin typeface="Calibri"/>
              <a:ea typeface="Calibri"/>
              <a:cs typeface="Calibri"/>
              <a:sym typeface="Calibri"/>
            </a:endParaRPr>
          </a:p>
        </p:txBody>
      </p:sp>
      <p:sp>
        <p:nvSpPr>
          <p:cNvPr id="614" name="Google Shape;614;p15"/>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9</a:t>
            </a:fld>
            <a:endParaRPr sz="1200" b="0" i="0" u="none" strike="noStrike" cap="none">
              <a:solidFill>
                <a:srgbClr val="8A8A8A"/>
              </a:solidFill>
              <a:latin typeface="Source Sans Pro"/>
              <a:ea typeface="Source Sans Pro"/>
              <a:cs typeface="Source Sans Pro"/>
              <a:sym typeface="Source Sans Pro"/>
            </a:endParaRPr>
          </a:p>
        </p:txBody>
      </p:sp>
      <p:sp>
        <p:nvSpPr>
          <p:cNvPr id="10" name="Google Shape;470;p9">
            <a:extLst>
              <a:ext uri="{FF2B5EF4-FFF2-40B4-BE49-F238E27FC236}">
                <a16:creationId xmlns:a16="http://schemas.microsoft.com/office/drawing/2014/main" id="{07509EF3-7D95-47DB-B37C-6EF4E0F9EE9D}"/>
              </a:ext>
            </a:extLst>
          </p:cNvPr>
          <p:cNvSpPr txBox="1"/>
          <p:nvPr/>
        </p:nvSpPr>
        <p:spPr>
          <a:xfrm>
            <a:off x="10881407" y="6408650"/>
            <a:ext cx="759418"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5" name="Google Shape;609;p14">
            <a:extLst>
              <a:ext uri="{FF2B5EF4-FFF2-40B4-BE49-F238E27FC236}">
                <a16:creationId xmlns:a16="http://schemas.microsoft.com/office/drawing/2014/main" id="{F9234196-FD9F-0245-3D15-9CAC8C82146D}"/>
              </a:ext>
            </a:extLst>
          </p:cNvPr>
          <p:cNvSpPr txBox="1"/>
          <p:nvPr/>
        </p:nvSpPr>
        <p:spPr>
          <a:xfrm>
            <a:off x="8959681" y="5823875"/>
            <a:ext cx="2921340" cy="861734"/>
          </a:xfrm>
          <a:prstGeom prst="rect">
            <a:avLst/>
          </a:prstGeom>
          <a:noFill/>
          <a:ln>
            <a:noFill/>
          </a:ln>
        </p:spPr>
        <p:txBody>
          <a:bodyPr spcFirstLastPara="1" wrap="square" lIns="91425" tIns="45700" rIns="91425" bIns="45700" anchor="t" anchorCtr="0">
            <a:spAutoFit/>
          </a:bodyPr>
          <a:lstStyle/>
          <a:p>
            <a:pPr marR="0" lvl="0" algn="l" rtl="0">
              <a:lnSpc>
                <a:spcPct val="100000"/>
              </a:lnSpc>
              <a:spcBef>
                <a:spcPts val="0"/>
              </a:spcBef>
              <a:spcAft>
                <a:spcPts val="0"/>
              </a:spcAft>
              <a:buClr>
                <a:schemeClr val="dk1"/>
              </a:buClr>
              <a:buSzPts val="800"/>
            </a:pPr>
            <a:r>
              <a:rPr lang="en-US" sz="1200">
                <a:latin typeface="Source Sans Pro"/>
                <a:ea typeface="Source Sans Pro"/>
                <a:hlinkClick r:id="rId3"/>
              </a:rPr>
              <a:t>User guide</a:t>
            </a:r>
            <a:r>
              <a:rPr lang="en-US" sz="1200">
                <a:latin typeface="Source Sans Pro"/>
                <a:ea typeface="Source Sans Pro"/>
              </a:rPr>
              <a:t>, </a:t>
            </a:r>
            <a:r>
              <a:rPr lang="en-US" sz="1200">
                <a:latin typeface="Source Sans Pro"/>
                <a:ea typeface="Source Sans Pro"/>
                <a:hlinkClick r:id="rId4"/>
              </a:rPr>
              <a:t>factsheet</a:t>
            </a:r>
            <a:r>
              <a:rPr lang="en-US" sz="1200">
                <a:latin typeface="Source Sans Pro"/>
                <a:ea typeface="Source Sans Pro"/>
              </a:rPr>
              <a:t>, </a:t>
            </a:r>
            <a:r>
              <a:rPr lang="en-US" sz="1200">
                <a:latin typeface="Source Sans Pro"/>
                <a:ea typeface="Source Sans Pro"/>
                <a:hlinkClick r:id="rId5"/>
              </a:rPr>
              <a:t>FAQs</a:t>
            </a:r>
            <a:r>
              <a:rPr lang="en-US" sz="1200">
                <a:latin typeface="Source Sans Pro"/>
                <a:ea typeface="Source Sans Pro"/>
              </a:rPr>
              <a:t>, </a:t>
            </a:r>
            <a:r>
              <a:rPr lang="en-US" sz="1200">
                <a:latin typeface="Source Sans Pro"/>
                <a:ea typeface="Source Sans Pro"/>
                <a:hlinkClick r:id="rId6"/>
              </a:rPr>
              <a:t>video</a:t>
            </a:r>
            <a:r>
              <a:rPr lang="en-US" sz="1200">
                <a:latin typeface="Source Sans Pro"/>
                <a:ea typeface="Source Sans Pro"/>
              </a:rPr>
              <a:t>, </a:t>
            </a:r>
            <a:r>
              <a:rPr lang="en-US" sz="1200">
                <a:latin typeface="Source Sans Pro"/>
                <a:ea typeface="Source Sans Pro"/>
                <a:hlinkClick r:id="rId7"/>
              </a:rPr>
              <a:t>product guide</a:t>
            </a:r>
            <a:r>
              <a:rPr lang="en-US" sz="1200">
                <a:latin typeface="Source Sans Pro"/>
                <a:ea typeface="Source Sans Pro"/>
              </a:rPr>
              <a:t>, mobile designs: </a:t>
            </a:r>
            <a:r>
              <a:rPr lang="en-US" sz="1200" b="0" i="0" u="none" strike="noStrike" cap="none">
                <a:solidFill>
                  <a:schemeClr val="dk1"/>
                </a:solidFill>
                <a:latin typeface="Source Sans Pro"/>
                <a:ea typeface="Source Sans Pro"/>
                <a:hlinkClick r:id="rId8"/>
              </a:rPr>
              <a:t>no 1095-B avail</a:t>
            </a:r>
            <a:r>
              <a:rPr lang="en-US" sz="1200">
                <a:solidFill>
                  <a:schemeClr val="dk1"/>
                </a:solidFill>
                <a:latin typeface="Source Sans Pro"/>
                <a:ea typeface="Source Sans Pro"/>
              </a:rPr>
              <a:t>, </a:t>
            </a:r>
            <a:r>
              <a:rPr lang="en-US" sz="1200" b="0" i="0" u="none" strike="noStrike" cap="none">
                <a:solidFill>
                  <a:schemeClr val="dk1"/>
                </a:solidFill>
                <a:latin typeface="Source Sans Pro"/>
                <a:ea typeface="Source Sans Pro"/>
                <a:hlinkClick r:id="rId9"/>
              </a:rPr>
              <a:t>success</a:t>
            </a:r>
            <a:r>
              <a:rPr lang="en-US" sz="1200" b="0" i="0" u="none" strike="noStrike" cap="none">
                <a:solidFill>
                  <a:schemeClr val="dk1"/>
                </a:solidFill>
                <a:latin typeface="Source Sans Pro"/>
                <a:ea typeface="Source Sans Pro"/>
              </a:rPr>
              <a:t>, </a:t>
            </a:r>
            <a:r>
              <a:rPr lang="en-US" sz="1200" b="0" i="0" u="none" strike="noStrike" cap="none">
                <a:solidFill>
                  <a:schemeClr val="dk1"/>
                </a:solidFill>
                <a:latin typeface="Source Sans Pro"/>
                <a:ea typeface="Source Sans Pro"/>
                <a:hlinkClick r:id="rId10"/>
              </a:rPr>
              <a:t>technical error</a:t>
            </a:r>
            <a:r>
              <a:rPr lang="en-US" sz="1200" b="0" i="0" u="none" strike="noStrike" cap="none">
                <a:solidFill>
                  <a:schemeClr val="dk1"/>
                </a:solidFill>
                <a:latin typeface="Source Sans Pro"/>
                <a:ea typeface="Source Sans Pro"/>
              </a:rPr>
              <a:t>, </a:t>
            </a:r>
            <a:r>
              <a:rPr lang="en-US" sz="1200" u="none">
                <a:latin typeface="Source Sans Pro"/>
                <a:ea typeface="Source Sans Pro"/>
                <a:hlinkClick r:id="rId11"/>
              </a:rPr>
              <a:t>unauthenticated</a:t>
            </a:r>
            <a:endParaRPr lang="en-US" sz="1200" u="none">
              <a:latin typeface="Source Sans Pro"/>
              <a:ea typeface="Source Sans Pro"/>
            </a:endParaRPr>
          </a:p>
          <a:p>
            <a:pPr algn="r"/>
            <a:endParaRPr lang="en-US"/>
          </a:p>
        </p:txBody>
      </p:sp>
      <p:sp>
        <p:nvSpPr>
          <p:cNvPr id="12" name="Google Shape;605;p14">
            <a:extLst>
              <a:ext uri="{FF2B5EF4-FFF2-40B4-BE49-F238E27FC236}">
                <a16:creationId xmlns:a16="http://schemas.microsoft.com/office/drawing/2014/main" id="{2A18C4E8-C461-494D-81E4-7EB6C08B7B32}"/>
              </a:ext>
            </a:extLst>
          </p:cNvPr>
          <p:cNvSpPr txBox="1"/>
          <p:nvPr/>
        </p:nvSpPr>
        <p:spPr>
          <a:xfrm>
            <a:off x="415662" y="1777822"/>
            <a:ext cx="4203038" cy="2973122"/>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hlinkClick r:id="rId12"/>
              </a:rPr>
              <a:t>User Story</a:t>
            </a:r>
            <a:r>
              <a:rPr lang="en-US" b="0" i="0" strike="noStrike" cap="none">
                <a:solidFill>
                  <a:schemeClr val="tx1"/>
                </a:solidFill>
                <a:latin typeface="PT Serif"/>
                <a:ea typeface="PT Serif"/>
                <a:cs typeface="PT Serif"/>
                <a:sym typeface="PT Serif"/>
              </a:rPr>
              <a:t>: </a:t>
            </a:r>
            <a:r>
              <a:rPr lang="en-US" b="0" i="0" strike="noStrike" cap="none">
                <a:solidFill>
                  <a:schemeClr val="tx1">
                    <a:lumMod val="50000"/>
                    <a:lumOff val="50000"/>
                  </a:schemeClr>
                </a:solidFill>
                <a:latin typeface="PT Serif"/>
                <a:ea typeface="PT Serif"/>
                <a:cs typeface="PT Serif"/>
                <a:sym typeface="PT Serif"/>
              </a:rPr>
              <a:t>Update HEC documents to reflect changes from sitewide</a:t>
            </a:r>
            <a:endParaRPr lang="en-US">
              <a:solidFill>
                <a:schemeClr val="tx1">
                  <a:lumMod val="50000"/>
                  <a:lumOff val="50000"/>
                </a:schemeClr>
              </a:solidFill>
              <a:latin typeface="PT Serif"/>
              <a:ea typeface="PT Serif"/>
              <a:cs typeface="PT Serif"/>
            </a:endParaRPr>
          </a:p>
          <a:p>
            <a:pPr>
              <a:lnSpc>
                <a:spcPct val="115000"/>
              </a:lnSpc>
              <a:buSzPts val="1400"/>
            </a:pPr>
            <a:r>
              <a:rPr lang="en-US" b="0" i="0" strike="noStrike" cap="none">
                <a:solidFill>
                  <a:schemeClr val="tx1"/>
                </a:solidFill>
                <a:latin typeface="PT Serif"/>
                <a:ea typeface="PT Serif"/>
                <a:cs typeface="PT Serif"/>
                <a:sym typeface="PT Serif"/>
                <a:hlinkClick r:id="rId13"/>
              </a:rPr>
              <a:t>User Story</a:t>
            </a:r>
            <a:r>
              <a:rPr lang="en-US" b="0" i="0" strike="noStrike" cap="none">
                <a:solidFill>
                  <a:schemeClr val="tx1"/>
                </a:solidFill>
                <a:latin typeface="PT Serif"/>
                <a:ea typeface="PT Serif"/>
                <a:cs typeface="PT Serif"/>
                <a:sym typeface="PT Serif"/>
              </a:rPr>
              <a:t>: </a:t>
            </a:r>
            <a:r>
              <a:rPr lang="en-US" b="0" i="0" strike="noStrike" cap="none">
                <a:solidFill>
                  <a:schemeClr val="tx1">
                    <a:lumMod val="50000"/>
                    <a:lumOff val="50000"/>
                  </a:schemeClr>
                </a:solidFill>
                <a:latin typeface="PT Serif"/>
                <a:ea typeface="PT Serif"/>
                <a:cs typeface="PT Serif"/>
                <a:sym typeface="PT Serif"/>
              </a:rPr>
              <a:t>Update product guide to reflect changes from sitewide content review</a:t>
            </a:r>
            <a:endParaRPr lang="en-US">
              <a:solidFill>
                <a:schemeClr val="tx1">
                  <a:lumMod val="50000"/>
                  <a:lumOff val="50000"/>
                </a:schemeClr>
              </a:solidFill>
              <a:latin typeface="PT Serif"/>
              <a:ea typeface="PT Serif"/>
              <a:cs typeface="PT Serif"/>
            </a:endParaRPr>
          </a:p>
          <a:p>
            <a:pPr>
              <a:lnSpc>
                <a:spcPct val="115000"/>
              </a:lnSpc>
              <a:buSzPts val="1400"/>
            </a:pPr>
            <a:r>
              <a:rPr lang="en-US" b="0" i="0" strike="noStrike" cap="none">
                <a:solidFill>
                  <a:schemeClr val="tx1"/>
                </a:solidFill>
                <a:latin typeface="PT Serif"/>
                <a:ea typeface="PT Serif"/>
                <a:cs typeface="PT Serif"/>
                <a:sym typeface="PT Serif"/>
                <a:hlinkClick r:id="rId14"/>
              </a:rPr>
              <a:t>User Story</a:t>
            </a:r>
            <a:r>
              <a:rPr lang="en-US" b="0" i="0" strike="noStrike" cap="none">
                <a:solidFill>
                  <a:schemeClr val="tx1"/>
                </a:solidFill>
                <a:latin typeface="PT Serif"/>
                <a:ea typeface="PT Serif"/>
                <a:cs typeface="PT Serif"/>
                <a:sym typeface="PT Serif"/>
              </a:rPr>
              <a:t>: </a:t>
            </a:r>
            <a:r>
              <a:rPr lang="en-US" b="0" i="0" strike="noStrike" cap="none">
                <a:solidFill>
                  <a:schemeClr val="tx1">
                    <a:lumMod val="50000"/>
                    <a:lumOff val="50000"/>
                  </a:schemeClr>
                </a:solidFill>
                <a:latin typeface="PT Serif"/>
                <a:ea typeface="PT Serif"/>
                <a:cs typeface="PT Serif"/>
                <a:sym typeface="PT Serif"/>
              </a:rPr>
              <a:t>Iterate on designs from Business Owner feedback (round 2)</a:t>
            </a:r>
            <a:endParaRPr lang="en-US">
              <a:solidFill>
                <a:schemeClr val="tx1">
                  <a:lumMod val="50000"/>
                  <a:lumOff val="50000"/>
                </a:schemeClr>
              </a:solidFill>
              <a:latin typeface="PT Serif"/>
              <a:ea typeface="PT Serif"/>
              <a:cs typeface="PT Serif"/>
            </a:endParaRPr>
          </a:p>
          <a:p>
            <a:pPr>
              <a:lnSpc>
                <a:spcPct val="115000"/>
              </a:lnSpc>
              <a:buSzPts val="1400"/>
            </a:pPr>
            <a:r>
              <a:rPr lang="en-US" b="0" i="0" strike="noStrike" cap="none">
                <a:solidFill>
                  <a:schemeClr val="tx1"/>
                </a:solidFill>
                <a:latin typeface="PT Serif"/>
                <a:ea typeface="PT Serif"/>
                <a:cs typeface="PT Serif"/>
                <a:sym typeface="PT Serif"/>
                <a:hlinkClick r:id="rId15"/>
              </a:rPr>
              <a:t>User Story</a:t>
            </a:r>
            <a:r>
              <a:rPr lang="en-US" b="0" i="0" strike="noStrike" cap="none">
                <a:solidFill>
                  <a:schemeClr val="tx1"/>
                </a:solidFill>
                <a:latin typeface="PT Serif"/>
                <a:ea typeface="PT Serif"/>
                <a:cs typeface="PT Serif"/>
                <a:sym typeface="PT Serif"/>
              </a:rPr>
              <a:t>: </a:t>
            </a:r>
            <a:r>
              <a:rPr lang="en-US">
                <a:solidFill>
                  <a:schemeClr val="tx1">
                    <a:lumMod val="50000"/>
                    <a:lumOff val="50000"/>
                  </a:schemeClr>
                </a:solidFill>
                <a:latin typeface="PT Serif"/>
                <a:ea typeface="PT Serif"/>
                <a:cs typeface="PT Serif"/>
                <a:sym typeface="PT Serif"/>
              </a:rPr>
              <a:t>Transmit final draft of HEC documents to Tarsha</a:t>
            </a:r>
          </a:p>
          <a:p>
            <a:pPr>
              <a:lnSpc>
                <a:spcPct val="115000"/>
              </a:lnSpc>
              <a:buSzPts val="1400"/>
            </a:pPr>
            <a:r>
              <a:rPr lang="en-US" b="0" i="0" strike="noStrike" cap="none">
                <a:solidFill>
                  <a:schemeClr val="tx1"/>
                </a:solidFill>
                <a:latin typeface="PT Serif"/>
                <a:ea typeface="PT Serif"/>
                <a:cs typeface="PT Serif"/>
                <a:sym typeface="PT Serif"/>
                <a:hlinkClick r:id="rId16"/>
              </a:rPr>
              <a:t>User Story</a:t>
            </a:r>
            <a:r>
              <a:rPr lang="en-US" b="0" i="0" strike="noStrike" cap="none">
                <a:solidFill>
                  <a:schemeClr val="tx1"/>
                </a:solidFill>
                <a:latin typeface="PT Serif"/>
                <a:ea typeface="PT Serif"/>
                <a:cs typeface="PT Serif"/>
                <a:sym typeface="PT Serif"/>
              </a:rPr>
              <a:t>: </a:t>
            </a:r>
            <a:r>
              <a:rPr lang="en-US" b="0" i="0" strike="noStrike" cap="none">
                <a:solidFill>
                  <a:schemeClr val="tx1">
                    <a:lumMod val="50000"/>
                    <a:lumOff val="50000"/>
                  </a:schemeClr>
                </a:solidFill>
                <a:latin typeface="PT Serif"/>
                <a:ea typeface="PT Serif"/>
                <a:cs typeface="PT Serif"/>
                <a:sym typeface="PT Serif"/>
              </a:rPr>
              <a:t>Update HEC products based on business owner feedback (final version)</a:t>
            </a:r>
            <a:endParaRPr lang="en-US">
              <a:solidFill>
                <a:schemeClr val="tx1">
                  <a:lumMod val="50000"/>
                  <a:lumOff val="50000"/>
                </a:schemeClr>
              </a:solidFill>
              <a:latin typeface="PT Serif"/>
              <a:ea typeface="PT Serif"/>
              <a:cs typeface="PT Serif"/>
            </a:endParaRPr>
          </a:p>
          <a:p>
            <a:pPr>
              <a:lnSpc>
                <a:spcPct val="115000"/>
              </a:lnSpc>
              <a:buSzPts val="1400"/>
            </a:pPr>
            <a:r>
              <a:rPr lang="en-US" b="0" i="0" strike="noStrike" cap="none">
                <a:solidFill>
                  <a:schemeClr val="tx1"/>
                </a:solidFill>
                <a:latin typeface="PT Serif"/>
                <a:ea typeface="PT Serif"/>
                <a:cs typeface="PT Serif"/>
                <a:sym typeface="PT Serif"/>
                <a:hlinkClick r:id="rId17"/>
              </a:rPr>
              <a:t>User Story</a:t>
            </a:r>
            <a:r>
              <a:rPr lang="en-US" b="0" i="0" strike="noStrike" cap="none">
                <a:solidFill>
                  <a:schemeClr val="tx1"/>
                </a:solidFill>
                <a:latin typeface="PT Serif"/>
                <a:ea typeface="PT Serif"/>
                <a:cs typeface="PT Serif"/>
                <a:sym typeface="PT Serif"/>
              </a:rPr>
              <a:t>: </a:t>
            </a:r>
            <a:r>
              <a:rPr lang="en-US" b="0" i="0" strike="noStrike" cap="none">
                <a:solidFill>
                  <a:schemeClr val="tx1">
                    <a:lumMod val="50000"/>
                    <a:lumOff val="50000"/>
                  </a:schemeClr>
                </a:solidFill>
                <a:latin typeface="PT Serif"/>
                <a:ea typeface="PT Serif"/>
                <a:cs typeface="PT Serif"/>
                <a:sym typeface="PT Serif"/>
              </a:rPr>
              <a:t>Create video walk through of final designs for HEC</a:t>
            </a:r>
            <a:endParaRPr lang="en-US">
              <a:solidFill>
                <a:schemeClr val="tx1">
                  <a:lumMod val="50000"/>
                  <a:lumOff val="50000"/>
                </a:schemeClr>
              </a:solidFill>
              <a:latin typeface="PT Serif"/>
              <a:ea typeface="PT Serif"/>
              <a:cs typeface="PT Serif"/>
            </a:endParaRPr>
          </a:p>
        </p:txBody>
      </p:sp>
      <p:pic>
        <p:nvPicPr>
          <p:cNvPr id="3" name="Picture 3" descr="Text, letter&#10;&#10;Description automatically generated">
            <a:extLst>
              <a:ext uri="{FF2B5EF4-FFF2-40B4-BE49-F238E27FC236}">
                <a16:creationId xmlns:a16="http://schemas.microsoft.com/office/drawing/2014/main" id="{B724F98D-FF1B-BCB1-E2C4-E208C15BF35F}"/>
              </a:ext>
            </a:extLst>
          </p:cNvPr>
          <p:cNvPicPr>
            <a:picLocks noChangeAspect="1"/>
          </p:cNvPicPr>
          <p:nvPr/>
        </p:nvPicPr>
        <p:blipFill>
          <a:blip r:embed="rId18"/>
          <a:stretch>
            <a:fillRect/>
          </a:stretch>
        </p:blipFill>
        <p:spPr>
          <a:xfrm>
            <a:off x="8339787" y="1777822"/>
            <a:ext cx="2921329" cy="35472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Picture 6" descr="Graphical user interface&#10;&#10;Description automatically generated">
            <a:extLst>
              <a:ext uri="{FF2B5EF4-FFF2-40B4-BE49-F238E27FC236}">
                <a16:creationId xmlns:a16="http://schemas.microsoft.com/office/drawing/2014/main" id="{C960AA0D-8A45-1E16-84E3-8E85DDC162F3}"/>
              </a:ext>
            </a:extLst>
          </p:cNvPr>
          <p:cNvPicPr>
            <a:picLocks noChangeAspect="1"/>
          </p:cNvPicPr>
          <p:nvPr/>
        </p:nvPicPr>
        <p:blipFill>
          <a:blip r:embed="rId19"/>
          <a:stretch>
            <a:fillRect/>
          </a:stretch>
        </p:blipFill>
        <p:spPr>
          <a:xfrm>
            <a:off x="5014698" y="1766886"/>
            <a:ext cx="2743200" cy="354545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 name="Picture 5" descr="Text, letter&#10;&#10;Description automatically generated">
            <a:extLst>
              <a:ext uri="{FF2B5EF4-FFF2-40B4-BE49-F238E27FC236}">
                <a16:creationId xmlns:a16="http://schemas.microsoft.com/office/drawing/2014/main" id="{09CA8A60-BBAA-9446-D21F-66F43DA127B3}"/>
              </a:ext>
            </a:extLst>
          </p:cNvPr>
          <p:cNvPicPr>
            <a:picLocks noChangeAspect="1"/>
          </p:cNvPicPr>
          <p:nvPr/>
        </p:nvPicPr>
        <p:blipFill rotWithShape="1">
          <a:blip r:embed="rId20"/>
          <a:srcRect r="-399" b="41538"/>
          <a:stretch/>
        </p:blipFill>
        <p:spPr>
          <a:xfrm>
            <a:off x="5640060" y="4340553"/>
            <a:ext cx="2921340" cy="220657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7206733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VA Custom 1">
      <a:dk1>
        <a:srgbClr val="202120"/>
      </a:dk1>
      <a:lt1>
        <a:srgbClr val="FDFFFD"/>
      </a:lt1>
      <a:dk2>
        <a:srgbClr val="303A46"/>
      </a:dk2>
      <a:lt2>
        <a:srgbClr val="F0F1F0"/>
      </a:lt2>
      <a:accent1>
        <a:srgbClr val="022D50"/>
      </a:accent1>
      <a:accent2>
        <a:srgbClr val="0071BF"/>
      </a:accent2>
      <a:accent3>
        <a:srgbClr val="FEB600"/>
      </a:accent3>
      <a:accent4>
        <a:srgbClr val="522597"/>
      </a:accent4>
      <a:accent5>
        <a:srgbClr val="00C0E2"/>
      </a:accent5>
      <a:accent6>
        <a:srgbClr val="DAE4F0"/>
      </a:accent6>
      <a:hlink>
        <a:srgbClr val="0071C0"/>
      </a:hlink>
      <a:folHlink>
        <a:srgbClr val="003D7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3</Slides>
  <Notes>26</Notes>
  <HiddenSlides>0</HiddenSlides>
  <ScaleCrop>false</ScaleCrop>
  <HeadingPairs>
    <vt:vector size="4" baseType="variant">
      <vt:variant>
        <vt:lpstr>Theme</vt:lpstr>
      </vt:variant>
      <vt:variant>
        <vt:i4>1</vt:i4>
      </vt:variant>
      <vt:variant>
        <vt:lpstr>Slide Titles</vt:lpstr>
      </vt:variant>
      <vt:variant>
        <vt:i4>33</vt:i4>
      </vt:variant>
    </vt:vector>
  </HeadingPairs>
  <TitlesOfParts>
    <vt:vector size="34" baseType="lpstr">
      <vt:lpstr>1_Office Theme</vt:lpstr>
      <vt:lpstr>Sprint 5 Demo</vt:lpstr>
      <vt:lpstr>Get to know the team</vt:lpstr>
      <vt:lpstr>At the end of each sprint on Tuesdays, the team will run sprint reviews to showcase the sprint’s work for approval. The purpose of this meeting is:</vt:lpstr>
      <vt:lpstr>Roadmap overview</vt:lpstr>
      <vt:lpstr>Current Workplan</vt:lpstr>
      <vt:lpstr>Agenda</vt:lpstr>
      <vt:lpstr>1095-B Overview</vt:lpstr>
      <vt:lpstr>Project objectives</vt:lpstr>
      <vt:lpstr>PowerPoint Presentation</vt:lpstr>
      <vt:lpstr>PowerPoint Presentation</vt:lpstr>
      <vt:lpstr>PowerPoint Presentation</vt:lpstr>
      <vt:lpstr>We tested for accessibility compliance and created a path for future improvements</vt:lpstr>
      <vt:lpstr>We laid the groundwork for opting into digital delivery and helped start the process for Profile to build opt in</vt:lpstr>
      <vt:lpstr>Blockers for 1095-B launch</vt:lpstr>
      <vt:lpstr>1095-B Remaining actions, with external dependencies</vt:lpstr>
      <vt:lpstr>Community Care</vt:lpstr>
      <vt:lpstr>Project objectives</vt:lpstr>
      <vt:lpstr>We laid out the potential deliverables into a workplan to show where we could help, given current timelines</vt:lpstr>
      <vt:lpstr>We assessed what should go into a plan to develop a solution for Community Care </vt:lpstr>
      <vt:lpstr>We conducted business partner interviews and synthesized themes we heard</vt:lpstr>
      <vt:lpstr>We synthesized what we learned into a draft of a journey map</vt:lpstr>
      <vt:lpstr>We are conducting technical discovery to get a baseline understanding of systems involved in community care</vt:lpstr>
      <vt:lpstr>Sprint Deliverables</vt:lpstr>
      <vt:lpstr>Sprint 5 Deliverables 1095-B (1 of 4)</vt:lpstr>
      <vt:lpstr>Sprint 5 Deliverables 1095-B (2 of 4)</vt:lpstr>
      <vt:lpstr>Sprint 5 Deliverables 1095-B (3 of 4)</vt:lpstr>
      <vt:lpstr>Sprint 5 Deliverables – CC</vt:lpstr>
      <vt:lpstr>Preview of Sprint 6</vt:lpstr>
      <vt:lpstr>PowerPoint Presentation</vt:lpstr>
      <vt:lpstr>Sprint 6 will run April 6 to April 20th</vt:lpstr>
      <vt:lpstr>Appendix</vt:lpstr>
      <vt:lpstr>PowerPoint Presentation</vt:lpstr>
      <vt:lpstr>Project risks and mitigation strateg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rint 2 Demo</dc:title>
  <dc:creator>Jordan White</dc:creator>
  <cp:revision>1</cp:revision>
  <cp:lastPrinted>2022-03-31T13:18:28Z</cp:lastPrinted>
  <dcterms:created xsi:type="dcterms:W3CDTF">2022-02-09T22:10:49Z</dcterms:created>
  <dcterms:modified xsi:type="dcterms:W3CDTF">2022-04-05T19:18:55Z</dcterms:modified>
</cp:coreProperties>
</file>